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notesSlides/notesSlide2.xml" ContentType="application/vnd.openxmlformats-officedocument.presentationml.notesSlide+xml"/>
  <Override PartName="/ppt/charts/chart6.xml" ContentType="application/vnd.openxmlformats-officedocument.drawingml.chart+xml"/>
  <Override PartName="/ppt/theme/themeOverride6.xml" ContentType="application/vnd.openxmlformats-officedocument.themeOverride+xml"/>
  <Override PartName="/ppt/charts/chart7.xml" ContentType="application/vnd.openxmlformats-officedocument.drawingml.chart+xml"/>
  <Override PartName="/ppt/theme/themeOverride7.xml" ContentType="application/vnd.openxmlformats-officedocument.themeOverride+xml"/>
  <Override PartName="/ppt/charts/chart8.xml" ContentType="application/vnd.openxmlformats-officedocument.drawingml.chart+xml"/>
  <Override PartName="/ppt/theme/themeOverride8.xml" ContentType="application/vnd.openxmlformats-officedocument.themeOverride+xml"/>
  <Override PartName="/ppt/charts/chart9.xml" ContentType="application/vnd.openxmlformats-officedocument.drawingml.chart+xml"/>
  <Override PartName="/ppt/theme/themeOverride9.xml" ContentType="application/vnd.openxmlformats-officedocument.themeOverride+xml"/>
  <Override PartName="/ppt/charts/chart10.xml" ContentType="application/vnd.openxmlformats-officedocument.drawingml.chart+xml"/>
  <Override PartName="/ppt/theme/themeOverride10.xml" ContentType="application/vnd.openxmlformats-officedocument.themeOverride+xml"/>
  <Override PartName="/ppt/notesSlides/notesSlide3.xml" ContentType="application/vnd.openxmlformats-officedocument.presentationml.notesSlide+xml"/>
  <Override PartName="/ppt/charts/chart11.xml" ContentType="application/vnd.openxmlformats-officedocument.drawingml.chart+xml"/>
  <Override PartName="/ppt/theme/themeOverride11.xml" ContentType="application/vnd.openxmlformats-officedocument.themeOverride+xml"/>
  <Override PartName="/ppt/charts/chart12.xml" ContentType="application/vnd.openxmlformats-officedocument.drawingml.chart+xml"/>
  <Override PartName="/ppt/theme/themeOverride12.xml" ContentType="application/vnd.openxmlformats-officedocument.themeOverride+xml"/>
  <Override PartName="/ppt/charts/chart13.xml" ContentType="application/vnd.openxmlformats-officedocument.drawingml.chart+xml"/>
  <Override PartName="/ppt/theme/themeOverride13.xml" ContentType="application/vnd.openxmlformats-officedocument.themeOverride+xml"/>
  <Override PartName="/ppt/charts/chart14.xml" ContentType="application/vnd.openxmlformats-officedocument.drawingml.chart+xml"/>
  <Override PartName="/ppt/theme/themeOverride14.xml" ContentType="application/vnd.openxmlformats-officedocument.themeOverride+xml"/>
  <Override PartName="/ppt/charts/chart15.xml" ContentType="application/vnd.openxmlformats-officedocument.drawingml.chart+xml"/>
  <Override PartName="/ppt/theme/themeOverride15.xml" ContentType="application/vnd.openxmlformats-officedocument.themeOverride+xml"/>
  <Override PartName="/ppt/notesSlides/notesSlide4.xml" ContentType="application/vnd.openxmlformats-officedocument.presentationml.notesSlide+xml"/>
  <Override PartName="/ppt/charts/chart16.xml" ContentType="application/vnd.openxmlformats-officedocument.drawingml.chart+xml"/>
  <Override PartName="/ppt/theme/themeOverride16.xml" ContentType="application/vnd.openxmlformats-officedocument.themeOverride+xml"/>
  <Override PartName="/ppt/charts/chart17.xml" ContentType="application/vnd.openxmlformats-officedocument.drawingml.chart+xml"/>
  <Override PartName="/ppt/theme/themeOverride17.xml" ContentType="application/vnd.openxmlformats-officedocument.themeOverride+xml"/>
  <Override PartName="/ppt/charts/chart18.xml" ContentType="application/vnd.openxmlformats-officedocument.drawingml.chart+xml"/>
  <Override PartName="/ppt/theme/themeOverride18.xml" ContentType="application/vnd.openxmlformats-officedocument.themeOverride+xml"/>
  <Override PartName="/ppt/charts/chart19.xml" ContentType="application/vnd.openxmlformats-officedocument.drawingml.chart+xml"/>
  <Override PartName="/ppt/theme/themeOverride19.xml" ContentType="application/vnd.openxmlformats-officedocument.themeOverride+xml"/>
  <Override PartName="/ppt/charts/chart20.xml" ContentType="application/vnd.openxmlformats-officedocument.drawingml.chart+xml"/>
  <Override PartName="/ppt/theme/themeOverride20.xml" ContentType="application/vnd.openxmlformats-officedocument.themeOverride+xml"/>
  <Override PartName="/ppt/notesSlides/notesSlide5.xml" ContentType="application/vnd.openxmlformats-officedocument.presentationml.notesSlide+xml"/>
  <Override PartName="/ppt/charts/chart21.xml" ContentType="application/vnd.openxmlformats-officedocument.drawingml.chart+xml"/>
  <Override PartName="/ppt/theme/themeOverride21.xml" ContentType="application/vnd.openxmlformats-officedocument.themeOverride+xml"/>
  <Override PartName="/ppt/charts/chart22.xml" ContentType="application/vnd.openxmlformats-officedocument.drawingml.chart+xml"/>
  <Override PartName="/ppt/theme/themeOverride22.xml" ContentType="application/vnd.openxmlformats-officedocument.themeOverride+xml"/>
  <Override PartName="/ppt/charts/chart23.xml" ContentType="application/vnd.openxmlformats-officedocument.drawingml.chart+xml"/>
  <Override PartName="/ppt/theme/themeOverride23.xml" ContentType="application/vnd.openxmlformats-officedocument.themeOverride+xml"/>
  <Override PartName="/ppt/charts/chart24.xml" ContentType="application/vnd.openxmlformats-officedocument.drawingml.chart+xml"/>
  <Override PartName="/ppt/theme/themeOverride24.xml" ContentType="application/vnd.openxmlformats-officedocument.themeOverride+xml"/>
  <Override PartName="/ppt/charts/chart25.xml" ContentType="application/vnd.openxmlformats-officedocument.drawingml.chart+xml"/>
  <Override PartName="/ppt/theme/themeOverride25.xml" ContentType="application/vnd.openxmlformats-officedocument.themeOverride+xml"/>
  <Override PartName="/ppt/notesSlides/notesSlide6.xml" ContentType="application/vnd.openxmlformats-officedocument.presentationml.notesSlide+xml"/>
  <Override PartName="/ppt/charts/chart26.xml" ContentType="application/vnd.openxmlformats-officedocument.drawingml.chart+xml"/>
  <Override PartName="/ppt/theme/themeOverride26.xml" ContentType="application/vnd.openxmlformats-officedocument.themeOverride+xml"/>
  <Override PartName="/ppt/charts/chart27.xml" ContentType="application/vnd.openxmlformats-officedocument.drawingml.chart+xml"/>
  <Override PartName="/ppt/theme/themeOverride27.xml" ContentType="application/vnd.openxmlformats-officedocument.themeOverride+xml"/>
  <Override PartName="/ppt/charts/chart28.xml" ContentType="application/vnd.openxmlformats-officedocument.drawingml.chart+xml"/>
  <Override PartName="/ppt/theme/themeOverride28.xml" ContentType="application/vnd.openxmlformats-officedocument.themeOverride+xml"/>
  <Override PartName="/ppt/charts/chart29.xml" ContentType="application/vnd.openxmlformats-officedocument.drawingml.chart+xml"/>
  <Override PartName="/ppt/theme/themeOverride29.xml" ContentType="application/vnd.openxmlformats-officedocument.themeOverride+xml"/>
  <Override PartName="/ppt/charts/chart30.xml" ContentType="application/vnd.openxmlformats-officedocument.drawingml.chart+xml"/>
  <Override PartName="/ppt/theme/themeOverride30.xml" ContentType="application/vnd.openxmlformats-officedocument.themeOverride+xml"/>
  <Override PartName="/ppt/notesSlides/notesSlide7.xml" ContentType="application/vnd.openxmlformats-officedocument.presentationml.notesSlide+xml"/>
  <Override PartName="/ppt/charts/chart31.xml" ContentType="application/vnd.openxmlformats-officedocument.drawingml.chart+xml"/>
  <Override PartName="/ppt/theme/themeOverride31.xml" ContentType="application/vnd.openxmlformats-officedocument.themeOverride+xml"/>
  <Override PartName="/ppt/charts/chart32.xml" ContentType="application/vnd.openxmlformats-officedocument.drawingml.chart+xml"/>
  <Override PartName="/ppt/theme/themeOverride32.xml" ContentType="application/vnd.openxmlformats-officedocument.themeOverride+xml"/>
  <Override PartName="/ppt/charts/chart33.xml" ContentType="application/vnd.openxmlformats-officedocument.drawingml.chart+xml"/>
  <Override PartName="/ppt/theme/themeOverride33.xml" ContentType="application/vnd.openxmlformats-officedocument.themeOverride+xml"/>
  <Override PartName="/ppt/charts/chart34.xml" ContentType="application/vnd.openxmlformats-officedocument.drawingml.chart+xml"/>
  <Override PartName="/ppt/theme/themeOverride34.xml" ContentType="application/vnd.openxmlformats-officedocument.themeOverride+xml"/>
  <Override PartName="/ppt/charts/chart35.xml" ContentType="application/vnd.openxmlformats-officedocument.drawingml.chart+xml"/>
  <Override PartName="/ppt/theme/themeOverride35.xml" ContentType="application/vnd.openxmlformats-officedocument.themeOverride+xml"/>
  <Override PartName="/ppt/notesSlides/notesSlide8.xml" ContentType="application/vnd.openxmlformats-officedocument.presentationml.notesSlide+xml"/>
  <Override PartName="/ppt/charts/chart36.xml" ContentType="application/vnd.openxmlformats-officedocument.drawingml.chart+xml"/>
  <Override PartName="/ppt/theme/themeOverride36.xml" ContentType="application/vnd.openxmlformats-officedocument.themeOverride+xml"/>
  <Override PartName="/ppt/charts/chart37.xml" ContentType="application/vnd.openxmlformats-officedocument.drawingml.chart+xml"/>
  <Override PartName="/ppt/theme/themeOverride37.xml" ContentType="application/vnd.openxmlformats-officedocument.themeOverride+xml"/>
  <Override PartName="/ppt/charts/chart38.xml" ContentType="application/vnd.openxmlformats-officedocument.drawingml.chart+xml"/>
  <Override PartName="/ppt/theme/themeOverride38.xml" ContentType="application/vnd.openxmlformats-officedocument.themeOverride+xml"/>
  <Override PartName="/ppt/charts/chart39.xml" ContentType="application/vnd.openxmlformats-officedocument.drawingml.chart+xml"/>
  <Override PartName="/ppt/theme/themeOverride39.xml" ContentType="application/vnd.openxmlformats-officedocument.themeOverride+xml"/>
  <Override PartName="/ppt/charts/chart40.xml" ContentType="application/vnd.openxmlformats-officedocument.drawingml.chart+xml"/>
  <Override PartName="/ppt/theme/themeOverride40.xml" ContentType="application/vnd.openxmlformats-officedocument.themeOverride+xml"/>
  <Override PartName="/ppt/notesSlides/notesSlide9.xml" ContentType="application/vnd.openxmlformats-officedocument.presentationml.notesSlide+xml"/>
  <Override PartName="/ppt/charts/chart41.xml" ContentType="application/vnd.openxmlformats-officedocument.drawingml.chart+xml"/>
  <Override PartName="/ppt/theme/themeOverride41.xml" ContentType="application/vnd.openxmlformats-officedocument.themeOverride+xml"/>
  <Override PartName="/ppt/charts/chart42.xml" ContentType="application/vnd.openxmlformats-officedocument.drawingml.chart+xml"/>
  <Override PartName="/ppt/theme/themeOverride42.xml" ContentType="application/vnd.openxmlformats-officedocument.themeOverride+xml"/>
  <Override PartName="/ppt/charts/chart43.xml" ContentType="application/vnd.openxmlformats-officedocument.drawingml.chart+xml"/>
  <Override PartName="/ppt/theme/themeOverride43.xml" ContentType="application/vnd.openxmlformats-officedocument.themeOverride+xml"/>
  <Override PartName="/ppt/charts/chart44.xml" ContentType="application/vnd.openxmlformats-officedocument.drawingml.chart+xml"/>
  <Override PartName="/ppt/theme/themeOverride44.xml" ContentType="application/vnd.openxmlformats-officedocument.themeOverride+xml"/>
  <Override PartName="/ppt/charts/chart45.xml" ContentType="application/vnd.openxmlformats-officedocument.drawingml.chart+xml"/>
  <Override PartName="/ppt/theme/themeOverride45.xml" ContentType="application/vnd.openxmlformats-officedocument.themeOverride+xml"/>
  <Override PartName="/ppt/notesSlides/notesSlide10.xml" ContentType="application/vnd.openxmlformats-officedocument.presentationml.notesSlide+xml"/>
  <Override PartName="/ppt/charts/chart46.xml" ContentType="application/vnd.openxmlformats-officedocument.drawingml.chart+xml"/>
  <Override PartName="/ppt/theme/themeOverride46.xml" ContentType="application/vnd.openxmlformats-officedocument.themeOverride+xml"/>
  <Override PartName="/ppt/charts/chart47.xml" ContentType="application/vnd.openxmlformats-officedocument.drawingml.chart+xml"/>
  <Override PartName="/ppt/theme/themeOverride47.xml" ContentType="application/vnd.openxmlformats-officedocument.themeOverride+xml"/>
  <Override PartName="/ppt/charts/chart48.xml" ContentType="application/vnd.openxmlformats-officedocument.drawingml.chart+xml"/>
  <Override PartName="/ppt/theme/themeOverride48.xml" ContentType="application/vnd.openxmlformats-officedocument.themeOverride+xml"/>
  <Override PartName="/ppt/charts/chart49.xml" ContentType="application/vnd.openxmlformats-officedocument.drawingml.chart+xml"/>
  <Override PartName="/ppt/theme/themeOverride49.xml" ContentType="application/vnd.openxmlformats-officedocument.themeOverride+xml"/>
  <Override PartName="/ppt/charts/chart50.xml" ContentType="application/vnd.openxmlformats-officedocument.drawingml.chart+xml"/>
  <Override PartName="/ppt/theme/themeOverride50.xml" ContentType="application/vnd.openxmlformats-officedocument.themeOverride+xml"/>
  <Override PartName="/ppt/notesSlides/notesSlide11.xml" ContentType="application/vnd.openxmlformats-officedocument.presentationml.notesSlide+xml"/>
  <Override PartName="/ppt/charts/chart51.xml" ContentType="application/vnd.openxmlformats-officedocument.drawingml.chart+xml"/>
  <Override PartName="/ppt/theme/themeOverride51.xml" ContentType="application/vnd.openxmlformats-officedocument.themeOverride+xml"/>
  <Override PartName="/ppt/charts/chart52.xml" ContentType="application/vnd.openxmlformats-officedocument.drawingml.chart+xml"/>
  <Override PartName="/ppt/theme/themeOverride52.xml" ContentType="application/vnd.openxmlformats-officedocument.themeOverride+xml"/>
  <Override PartName="/ppt/charts/chart53.xml" ContentType="application/vnd.openxmlformats-officedocument.drawingml.chart+xml"/>
  <Override PartName="/ppt/theme/themeOverride53.xml" ContentType="application/vnd.openxmlformats-officedocument.themeOverride+xml"/>
  <Override PartName="/ppt/charts/chart54.xml" ContentType="application/vnd.openxmlformats-officedocument.drawingml.chart+xml"/>
  <Override PartName="/ppt/theme/themeOverride54.xml" ContentType="application/vnd.openxmlformats-officedocument.themeOverride+xml"/>
  <Override PartName="/ppt/charts/chart55.xml" ContentType="application/vnd.openxmlformats-officedocument.drawingml.chart+xml"/>
  <Override PartName="/ppt/theme/themeOverride55.xml" ContentType="application/vnd.openxmlformats-officedocument.themeOverride+xml"/>
  <Override PartName="/ppt/notesSlides/notesSlide12.xml" ContentType="application/vnd.openxmlformats-officedocument.presentationml.notesSlide+xml"/>
  <Override PartName="/ppt/charts/chart56.xml" ContentType="application/vnd.openxmlformats-officedocument.drawingml.chart+xml"/>
  <Override PartName="/ppt/theme/themeOverride56.xml" ContentType="application/vnd.openxmlformats-officedocument.themeOverride+xml"/>
  <Override PartName="/ppt/charts/chart57.xml" ContentType="application/vnd.openxmlformats-officedocument.drawingml.chart+xml"/>
  <Override PartName="/ppt/theme/themeOverride57.xml" ContentType="application/vnd.openxmlformats-officedocument.themeOverride+xml"/>
  <Override PartName="/ppt/charts/chart58.xml" ContentType="application/vnd.openxmlformats-officedocument.drawingml.chart+xml"/>
  <Override PartName="/ppt/theme/themeOverride58.xml" ContentType="application/vnd.openxmlformats-officedocument.themeOverride+xml"/>
  <Override PartName="/ppt/charts/chart59.xml" ContentType="application/vnd.openxmlformats-officedocument.drawingml.chart+xml"/>
  <Override PartName="/ppt/theme/themeOverride59.xml" ContentType="application/vnd.openxmlformats-officedocument.themeOverride+xml"/>
  <Override PartName="/ppt/charts/chart60.xml" ContentType="application/vnd.openxmlformats-officedocument.drawingml.chart+xml"/>
  <Override PartName="/ppt/theme/themeOverride60.xml" ContentType="application/vnd.openxmlformats-officedocument.themeOverride+xml"/>
  <Override PartName="/ppt/notesSlides/notesSlide13.xml" ContentType="application/vnd.openxmlformats-officedocument.presentationml.notesSlide+xml"/>
  <Override PartName="/ppt/charts/chart61.xml" ContentType="application/vnd.openxmlformats-officedocument.drawingml.chart+xml"/>
  <Override PartName="/ppt/theme/themeOverride61.xml" ContentType="application/vnd.openxmlformats-officedocument.themeOverride+xml"/>
  <Override PartName="/ppt/charts/chart62.xml" ContentType="application/vnd.openxmlformats-officedocument.drawingml.chart+xml"/>
  <Override PartName="/ppt/theme/themeOverride62.xml" ContentType="application/vnd.openxmlformats-officedocument.themeOverride+xml"/>
  <Override PartName="/ppt/notesSlides/notesSlide14.xml" ContentType="application/vnd.openxmlformats-officedocument.presentationml.notesSlide+xml"/>
  <Override PartName="/ppt/charts/chart63.xml" ContentType="application/vnd.openxmlformats-officedocument.drawingml.chart+xml"/>
  <Override PartName="/ppt/theme/themeOverride63.xml" ContentType="application/vnd.openxmlformats-officedocument.themeOverride+xml"/>
  <Override PartName="/ppt/charts/chart64.xml" ContentType="application/vnd.openxmlformats-officedocument.drawingml.chart+xml"/>
  <Override PartName="/ppt/theme/themeOverride64.xml" ContentType="application/vnd.openxmlformats-officedocument.themeOverride+xml"/>
  <Override PartName="/ppt/notesSlides/notesSlide15.xml" ContentType="application/vnd.openxmlformats-officedocument.presentationml.notesSlide+xml"/>
  <Override PartName="/ppt/charts/chart65.xml" ContentType="application/vnd.openxmlformats-officedocument.drawingml.chart+xml"/>
  <Override PartName="/ppt/theme/themeOverride65.xml" ContentType="application/vnd.openxmlformats-officedocument.themeOverride+xml"/>
  <Override PartName="/ppt/charts/chart66.xml" ContentType="application/vnd.openxmlformats-officedocument.drawingml.chart+xml"/>
  <Override PartName="/ppt/theme/themeOverride66.xml" ContentType="application/vnd.openxmlformats-officedocument.themeOverride+xml"/>
  <Override PartName="/ppt/notesSlides/notesSlide16.xml" ContentType="application/vnd.openxmlformats-officedocument.presentationml.notesSlide+xml"/>
  <Override PartName="/ppt/charts/chart67.xml" ContentType="application/vnd.openxmlformats-officedocument.drawingml.chart+xml"/>
  <Override PartName="/ppt/theme/themeOverride67.xml" ContentType="application/vnd.openxmlformats-officedocument.themeOverride+xml"/>
  <Override PartName="/ppt/charts/chart68.xml" ContentType="application/vnd.openxmlformats-officedocument.drawingml.chart+xml"/>
  <Override PartName="/ppt/theme/themeOverride68.xml" ContentType="application/vnd.openxmlformats-officedocument.themeOverride+xml"/>
  <Override PartName="/ppt/notesSlides/notesSlide17.xml" ContentType="application/vnd.openxmlformats-officedocument.presentationml.notesSlide+xml"/>
  <Override PartName="/ppt/charts/chart69.xml" ContentType="application/vnd.openxmlformats-officedocument.drawingml.chart+xml"/>
  <Override PartName="/ppt/theme/themeOverride69.xml" ContentType="application/vnd.openxmlformats-officedocument.themeOverride+xml"/>
  <Override PartName="/ppt/charts/chart70.xml" ContentType="application/vnd.openxmlformats-officedocument.drawingml.chart+xml"/>
  <Override PartName="/ppt/theme/themeOverride70.xml" ContentType="application/vnd.openxmlformats-officedocument.themeOverride+xml"/>
  <Override PartName="/ppt/notesSlides/notesSlide18.xml" ContentType="application/vnd.openxmlformats-officedocument.presentationml.notesSlide+xml"/>
  <Override PartName="/ppt/charts/chart71.xml" ContentType="application/vnd.openxmlformats-officedocument.drawingml.chart+xml"/>
  <Override PartName="/ppt/theme/themeOverride71.xml" ContentType="application/vnd.openxmlformats-officedocument.themeOverride+xml"/>
  <Override PartName="/ppt/charts/chart72.xml" ContentType="application/vnd.openxmlformats-officedocument.drawingml.chart+xml"/>
  <Override PartName="/ppt/theme/themeOverride72.xml" ContentType="application/vnd.openxmlformats-officedocument.themeOverride+xml"/>
  <Override PartName="/ppt/notesSlides/notesSlide19.xml" ContentType="application/vnd.openxmlformats-officedocument.presentationml.notesSlide+xml"/>
  <Override PartName="/ppt/charts/chart73.xml" ContentType="application/vnd.openxmlformats-officedocument.drawingml.chart+xml"/>
  <Override PartName="/ppt/theme/themeOverride73.xml" ContentType="application/vnd.openxmlformats-officedocument.themeOverride+xml"/>
  <Override PartName="/ppt/charts/chart74.xml" ContentType="application/vnd.openxmlformats-officedocument.drawingml.chart+xml"/>
  <Override PartName="/ppt/theme/themeOverride74.xml" ContentType="application/vnd.openxmlformats-officedocument.themeOverride+xml"/>
  <Override PartName="/ppt/notesSlides/notesSlide20.xml" ContentType="application/vnd.openxmlformats-officedocument.presentationml.notesSlide+xml"/>
  <Override PartName="/ppt/charts/chart75.xml" ContentType="application/vnd.openxmlformats-officedocument.drawingml.chart+xml"/>
  <Override PartName="/ppt/theme/themeOverride75.xml" ContentType="application/vnd.openxmlformats-officedocument.themeOverride+xml"/>
  <Override PartName="/ppt/charts/chart76.xml" ContentType="application/vnd.openxmlformats-officedocument.drawingml.chart+xml"/>
  <Override PartName="/ppt/theme/themeOverride76.xml" ContentType="application/vnd.openxmlformats-officedocument.themeOverride+xml"/>
  <Override PartName="/ppt/notesSlides/notesSlide21.xml" ContentType="application/vnd.openxmlformats-officedocument.presentationml.notesSlide+xml"/>
  <Override PartName="/ppt/charts/chart77.xml" ContentType="application/vnd.openxmlformats-officedocument.drawingml.chart+xml"/>
  <Override PartName="/ppt/theme/themeOverride77.xml" ContentType="application/vnd.openxmlformats-officedocument.themeOverride+xml"/>
  <Override PartName="/ppt/charts/chart78.xml" ContentType="application/vnd.openxmlformats-officedocument.drawingml.chart+xml"/>
  <Override PartName="/ppt/theme/themeOverride78.xml" ContentType="application/vnd.openxmlformats-officedocument.themeOverride+xml"/>
  <Override PartName="/ppt/notesSlides/notesSlide22.xml" ContentType="application/vnd.openxmlformats-officedocument.presentationml.notesSlide+xml"/>
  <Override PartName="/ppt/charts/chart79.xml" ContentType="application/vnd.openxmlformats-officedocument.drawingml.chart+xml"/>
  <Override PartName="/ppt/theme/themeOverride79.xml" ContentType="application/vnd.openxmlformats-officedocument.themeOverride+xml"/>
  <Override PartName="/ppt/charts/chart80.xml" ContentType="application/vnd.openxmlformats-officedocument.drawingml.chart+xml"/>
  <Override PartName="/ppt/theme/themeOverride80.xml" ContentType="application/vnd.openxmlformats-officedocument.themeOverride+xml"/>
  <Override PartName="/ppt/notesSlides/notesSlide23.xml" ContentType="application/vnd.openxmlformats-officedocument.presentationml.notesSlide+xml"/>
  <Override PartName="/ppt/charts/chart81.xml" ContentType="application/vnd.openxmlformats-officedocument.drawingml.chart+xml"/>
  <Override PartName="/ppt/theme/themeOverride81.xml" ContentType="application/vnd.openxmlformats-officedocument.themeOverride+xml"/>
  <Override PartName="/ppt/charts/chart82.xml" ContentType="application/vnd.openxmlformats-officedocument.drawingml.chart+xml"/>
  <Override PartName="/ppt/theme/themeOverride82.xml" ContentType="application/vnd.openxmlformats-officedocument.themeOverride+xml"/>
  <Override PartName="/ppt/notesSlides/notesSlide24.xml" ContentType="application/vnd.openxmlformats-officedocument.presentationml.notesSlide+xml"/>
  <Override PartName="/ppt/charts/chart83.xml" ContentType="application/vnd.openxmlformats-officedocument.drawingml.chart+xml"/>
  <Override PartName="/ppt/theme/themeOverride83.xml" ContentType="application/vnd.openxmlformats-officedocument.themeOverride+xml"/>
  <Override PartName="/ppt/charts/chart84.xml" ContentType="application/vnd.openxmlformats-officedocument.drawingml.chart+xml"/>
  <Override PartName="/ppt/theme/themeOverride84.xml" ContentType="application/vnd.openxmlformats-officedocument.themeOverride+xml"/>
  <Override PartName="/ppt/notesSlides/notesSlide25.xml" ContentType="application/vnd.openxmlformats-officedocument.presentationml.notesSlide+xml"/>
  <Override PartName="/ppt/charts/chart85.xml" ContentType="application/vnd.openxmlformats-officedocument.drawingml.chart+xml"/>
  <Override PartName="/ppt/theme/themeOverride85.xml" ContentType="application/vnd.openxmlformats-officedocument.themeOverride+xml"/>
  <Override PartName="/ppt/charts/chart86.xml" ContentType="application/vnd.openxmlformats-officedocument.drawingml.chart+xml"/>
  <Override PartName="/ppt/theme/themeOverride86.xml" ContentType="application/vnd.openxmlformats-officedocument.themeOverride+xml"/>
  <Override PartName="/ppt/notesSlides/notesSlide26.xml" ContentType="application/vnd.openxmlformats-officedocument.presentationml.notesSlide+xml"/>
  <Override PartName="/ppt/charts/chart87.xml" ContentType="application/vnd.openxmlformats-officedocument.drawingml.chart+xml"/>
  <Override PartName="/ppt/theme/themeOverride87.xml" ContentType="application/vnd.openxmlformats-officedocument.themeOverride+xml"/>
  <Override PartName="/ppt/charts/chart88.xml" ContentType="application/vnd.openxmlformats-officedocument.drawingml.chart+xml"/>
  <Override PartName="/ppt/theme/themeOverride88.xml" ContentType="application/vnd.openxmlformats-officedocument.themeOverride+xml"/>
  <Override PartName="/ppt/notesSlides/notesSlide27.xml" ContentType="application/vnd.openxmlformats-officedocument.presentationml.notesSlide+xml"/>
  <Override PartName="/ppt/charts/chart89.xml" ContentType="application/vnd.openxmlformats-officedocument.drawingml.chart+xml"/>
  <Override PartName="/ppt/theme/themeOverride89.xml" ContentType="application/vnd.openxmlformats-officedocument.themeOverride+xml"/>
  <Override PartName="/ppt/charts/chart90.xml" ContentType="application/vnd.openxmlformats-officedocument.drawingml.chart+xml"/>
  <Override PartName="/ppt/theme/themeOverride90.xml" ContentType="application/vnd.openxmlformats-officedocument.themeOverride+xml"/>
  <Override PartName="/ppt/notesSlides/notesSlide28.xml" ContentType="application/vnd.openxmlformats-officedocument.presentationml.notesSlide+xml"/>
  <Override PartName="/ppt/charts/chart91.xml" ContentType="application/vnd.openxmlformats-officedocument.drawingml.chart+xml"/>
  <Override PartName="/ppt/theme/themeOverride91.xml" ContentType="application/vnd.openxmlformats-officedocument.themeOverride+xml"/>
  <Override PartName="/ppt/charts/chart92.xml" ContentType="application/vnd.openxmlformats-officedocument.drawingml.chart+xml"/>
  <Override PartName="/ppt/theme/themeOverride92.xml" ContentType="application/vnd.openxmlformats-officedocument.themeOverride+xml"/>
  <Override PartName="/ppt/notesSlides/notesSlide29.xml" ContentType="application/vnd.openxmlformats-officedocument.presentationml.notesSlide+xml"/>
  <Override PartName="/ppt/charts/chart93.xml" ContentType="application/vnd.openxmlformats-officedocument.drawingml.chart+xml"/>
  <Override PartName="/ppt/theme/themeOverride93.xml" ContentType="application/vnd.openxmlformats-officedocument.themeOverride+xml"/>
  <Override PartName="/ppt/charts/chart94.xml" ContentType="application/vnd.openxmlformats-officedocument.drawingml.chart+xml"/>
  <Override PartName="/ppt/theme/themeOverride94.xml" ContentType="application/vnd.openxmlformats-officedocument.themeOverride+xml"/>
  <Override PartName="/ppt/charts/chart95.xml" ContentType="application/vnd.openxmlformats-officedocument.drawingml.chart+xml"/>
  <Override PartName="/ppt/theme/themeOverride95.xml" ContentType="application/vnd.openxmlformats-officedocument.themeOverride+xml"/>
  <Override PartName="/ppt/notesSlides/notesSlide30.xml" ContentType="application/vnd.openxmlformats-officedocument.presentationml.notesSlide+xml"/>
  <Override PartName="/ppt/charts/chart96.xml" ContentType="application/vnd.openxmlformats-officedocument.drawingml.chart+xml"/>
  <Override PartName="/ppt/theme/themeOverride96.xml" ContentType="application/vnd.openxmlformats-officedocument.themeOverride+xml"/>
  <Override PartName="/ppt/charts/chart97.xml" ContentType="application/vnd.openxmlformats-officedocument.drawingml.chart+xml"/>
  <Override PartName="/ppt/theme/themeOverride97.xml" ContentType="application/vnd.openxmlformats-officedocument.themeOverride+xml"/>
  <Override PartName="/ppt/charts/chart98.xml" ContentType="application/vnd.openxmlformats-officedocument.drawingml.chart+xml"/>
  <Override PartName="/ppt/theme/themeOverride98.xml" ContentType="application/vnd.openxmlformats-officedocument.themeOverride+xml"/>
  <Override PartName="/ppt/notesSlides/notesSlide31.xml" ContentType="application/vnd.openxmlformats-officedocument.presentationml.notesSlide+xml"/>
  <Override PartName="/ppt/charts/chart99.xml" ContentType="application/vnd.openxmlformats-officedocument.drawingml.chart+xml"/>
  <Override PartName="/ppt/theme/themeOverride99.xml" ContentType="application/vnd.openxmlformats-officedocument.themeOverride+xml"/>
  <Override PartName="/ppt/charts/chart100.xml" ContentType="application/vnd.openxmlformats-officedocument.drawingml.chart+xml"/>
  <Override PartName="/ppt/theme/themeOverride100.xml" ContentType="application/vnd.openxmlformats-officedocument.themeOverride+xml"/>
  <Override PartName="/ppt/charts/chart101.xml" ContentType="application/vnd.openxmlformats-officedocument.drawingml.chart+xml"/>
  <Override PartName="/ppt/theme/themeOverride101.xml" ContentType="application/vnd.openxmlformats-officedocument.themeOverride+xml"/>
  <Override PartName="/ppt/notesSlides/notesSlide32.xml" ContentType="application/vnd.openxmlformats-officedocument.presentationml.notesSlide+xml"/>
  <Override PartName="/ppt/charts/chart102.xml" ContentType="application/vnd.openxmlformats-officedocument.drawingml.chart+xml"/>
  <Override PartName="/ppt/theme/themeOverride102.xml" ContentType="application/vnd.openxmlformats-officedocument.themeOverride+xml"/>
  <Override PartName="/ppt/charts/chart103.xml" ContentType="application/vnd.openxmlformats-officedocument.drawingml.chart+xml"/>
  <Override PartName="/ppt/theme/themeOverride103.xml" ContentType="application/vnd.openxmlformats-officedocument.themeOverride+xml"/>
  <Override PartName="/ppt/charts/chart104.xml" ContentType="application/vnd.openxmlformats-officedocument.drawingml.chart+xml"/>
  <Override PartName="/ppt/theme/themeOverride104.xml" ContentType="application/vnd.openxmlformats-officedocument.themeOverride+xml"/>
  <Override PartName="/ppt/tags/tag28.xml" ContentType="application/vnd.openxmlformats-officedocument.presentationml.tags+xml"/>
  <Override PartName="/ppt/notesSlides/notesSlide33.xml" ContentType="application/vnd.openxmlformats-officedocument.presentationml.notesSlide+xml"/>
  <Override PartName="/ppt/charts/chart105.xml" ContentType="application/vnd.openxmlformats-officedocument.drawingml.chart+xml"/>
  <Override PartName="/ppt/theme/themeOverride105.xml" ContentType="application/vnd.openxmlformats-officedocument.themeOverride+xml"/>
  <Override PartName="/ppt/charts/chart106.xml" ContentType="application/vnd.openxmlformats-officedocument.drawingml.chart+xml"/>
  <Override PartName="/ppt/theme/themeOverride106.xml" ContentType="application/vnd.openxmlformats-officedocument.themeOverride+xml"/>
  <Override PartName="/ppt/tags/tag29.xml" ContentType="application/vnd.openxmlformats-officedocument.presentationml.tags+xml"/>
  <Override PartName="/ppt/notesSlides/notesSlide34.xml" ContentType="application/vnd.openxmlformats-officedocument.presentationml.notesSlide+xml"/>
  <Override PartName="/ppt/charts/chart107.xml" ContentType="application/vnd.openxmlformats-officedocument.drawingml.chart+xml"/>
  <Override PartName="/ppt/theme/themeOverride107.xml" ContentType="application/vnd.openxmlformats-officedocument.themeOverride+xml"/>
  <Override PartName="/ppt/charts/chart108.xml" ContentType="application/vnd.openxmlformats-officedocument.drawingml.chart+xml"/>
  <Override PartName="/ppt/theme/themeOverride108.xml" ContentType="application/vnd.openxmlformats-officedocument.themeOverride+xml"/>
  <Override PartName="/ppt/tags/tag30.xml" ContentType="application/vnd.openxmlformats-officedocument.presentationml.tags+xml"/>
  <Override PartName="/ppt/notesSlides/notesSlide35.xml" ContentType="application/vnd.openxmlformats-officedocument.presentationml.notesSlide+xml"/>
  <Override PartName="/ppt/charts/chart109.xml" ContentType="application/vnd.openxmlformats-officedocument.drawingml.chart+xml"/>
  <Override PartName="/ppt/theme/themeOverride109.xml" ContentType="application/vnd.openxmlformats-officedocument.themeOverride+xml"/>
  <Override PartName="/ppt/charts/chart110.xml" ContentType="application/vnd.openxmlformats-officedocument.drawingml.chart+xml"/>
  <Override PartName="/ppt/theme/themeOverride110.xml" ContentType="application/vnd.openxmlformats-officedocument.themeOverride+xml"/>
  <Override PartName="/ppt/tags/tag31.xml" ContentType="application/vnd.openxmlformats-officedocument.presentationml.tags+xml"/>
  <Override PartName="/ppt/notesSlides/notesSlide36.xml" ContentType="application/vnd.openxmlformats-officedocument.presentationml.notesSlide+xml"/>
  <Override PartName="/ppt/charts/chart111.xml" ContentType="application/vnd.openxmlformats-officedocument.drawingml.chart+xml"/>
  <Override PartName="/ppt/theme/themeOverride111.xml" ContentType="application/vnd.openxmlformats-officedocument.themeOverride+xml"/>
  <Override PartName="/ppt/charts/chart112.xml" ContentType="application/vnd.openxmlformats-officedocument.drawingml.chart+xml"/>
  <Override PartName="/ppt/theme/themeOverride112.xml" ContentType="application/vnd.openxmlformats-officedocument.themeOverride+xml"/>
  <Override PartName="/ppt/tags/tag32.xml" ContentType="application/vnd.openxmlformats-officedocument.presentationml.tags+xml"/>
  <Override PartName="/ppt/notesSlides/notesSlide37.xml" ContentType="application/vnd.openxmlformats-officedocument.presentationml.notesSlide+xml"/>
  <Override PartName="/ppt/charts/chart113.xml" ContentType="application/vnd.openxmlformats-officedocument.drawingml.chart+xml"/>
  <Override PartName="/ppt/theme/themeOverride113.xml" ContentType="application/vnd.openxmlformats-officedocument.themeOverride+xml"/>
  <Override PartName="/ppt/charts/chart114.xml" ContentType="application/vnd.openxmlformats-officedocument.drawingml.chart+xml"/>
  <Override PartName="/ppt/theme/themeOverride114.xml" ContentType="application/vnd.openxmlformats-officedocument.themeOverride+xml"/>
  <Override PartName="/ppt/tags/tag33.xml" ContentType="application/vnd.openxmlformats-officedocument.presentationml.tags+xml"/>
  <Override PartName="/ppt/notesSlides/notesSlide38.xml" ContentType="application/vnd.openxmlformats-officedocument.presentationml.notesSlide+xml"/>
  <Override PartName="/ppt/charts/chart115.xml" ContentType="application/vnd.openxmlformats-officedocument.drawingml.chart+xml"/>
  <Override PartName="/ppt/theme/themeOverride115.xml" ContentType="application/vnd.openxmlformats-officedocument.themeOverride+xml"/>
  <Override PartName="/ppt/charts/chart116.xml" ContentType="application/vnd.openxmlformats-officedocument.drawingml.chart+xml"/>
  <Override PartName="/ppt/theme/themeOverride116.xml" ContentType="application/vnd.openxmlformats-officedocument.themeOverride+xml"/>
  <Override PartName="/ppt/tags/tag34.xml" ContentType="application/vnd.openxmlformats-officedocument.presentationml.tags+xml"/>
  <Override PartName="/ppt/notesSlides/notesSlide39.xml" ContentType="application/vnd.openxmlformats-officedocument.presentationml.notesSlide+xml"/>
  <Override PartName="/ppt/charts/chart117.xml" ContentType="application/vnd.openxmlformats-officedocument.drawingml.chart+xml"/>
  <Override PartName="/ppt/theme/themeOverride117.xml" ContentType="application/vnd.openxmlformats-officedocument.themeOverride+xml"/>
  <Override PartName="/ppt/charts/chart118.xml" ContentType="application/vnd.openxmlformats-officedocument.drawingml.chart+xml"/>
  <Override PartName="/ppt/theme/themeOverride118.xml" ContentType="application/vnd.openxmlformats-officedocument.themeOverride+xml"/>
  <Override PartName="/ppt/tags/tag35.xml" ContentType="application/vnd.openxmlformats-officedocument.presentationml.tags+xml"/>
  <Override PartName="/ppt/notesSlides/notesSlide40.xml" ContentType="application/vnd.openxmlformats-officedocument.presentationml.notesSlide+xml"/>
  <Override PartName="/ppt/charts/chart119.xml" ContentType="application/vnd.openxmlformats-officedocument.drawingml.chart+xml"/>
  <Override PartName="/ppt/theme/themeOverride119.xml" ContentType="application/vnd.openxmlformats-officedocument.themeOverride+xml"/>
  <Override PartName="/ppt/charts/chart120.xml" ContentType="application/vnd.openxmlformats-officedocument.drawingml.chart+xml"/>
  <Override PartName="/ppt/theme/themeOverride120.xml" ContentType="application/vnd.openxmlformats-officedocument.themeOverride+xml"/>
  <Override PartName="/ppt/tags/tag36.xml" ContentType="application/vnd.openxmlformats-officedocument.presentationml.tags+xml"/>
  <Override PartName="/ppt/notesSlides/notesSlide41.xml" ContentType="application/vnd.openxmlformats-officedocument.presentationml.notesSlide+xml"/>
  <Override PartName="/ppt/charts/chart121.xml" ContentType="application/vnd.openxmlformats-officedocument.drawingml.chart+xml"/>
  <Override PartName="/ppt/theme/themeOverride121.xml" ContentType="application/vnd.openxmlformats-officedocument.themeOverride+xml"/>
  <Override PartName="/ppt/charts/chart122.xml" ContentType="application/vnd.openxmlformats-officedocument.drawingml.chart+xml"/>
  <Override PartName="/ppt/theme/themeOverride122.xml" ContentType="application/vnd.openxmlformats-officedocument.themeOverride+xml"/>
  <Override PartName="/ppt/tags/tag37.xml" ContentType="application/vnd.openxmlformats-officedocument.presentationml.tags+xml"/>
  <Override PartName="/ppt/notesSlides/notesSlide42.xml" ContentType="application/vnd.openxmlformats-officedocument.presentationml.notesSlide+xml"/>
  <Override PartName="/ppt/charts/chart123.xml" ContentType="application/vnd.openxmlformats-officedocument.drawingml.chart+xml"/>
  <Override PartName="/ppt/theme/themeOverride123.xml" ContentType="application/vnd.openxmlformats-officedocument.themeOverride+xml"/>
  <Override PartName="/ppt/charts/chart124.xml" ContentType="application/vnd.openxmlformats-officedocument.drawingml.chart+xml"/>
  <Override PartName="/ppt/theme/themeOverride124.xml" ContentType="application/vnd.openxmlformats-officedocument.themeOverride+xml"/>
  <Override PartName="/ppt/tags/tag38.xml" ContentType="application/vnd.openxmlformats-officedocument.presentationml.tags+xml"/>
  <Override PartName="/ppt/notesSlides/notesSlide43.xml" ContentType="application/vnd.openxmlformats-officedocument.presentationml.notesSlide+xml"/>
  <Override PartName="/ppt/charts/chart125.xml" ContentType="application/vnd.openxmlformats-officedocument.drawingml.chart+xml"/>
  <Override PartName="/ppt/theme/themeOverride125.xml" ContentType="application/vnd.openxmlformats-officedocument.themeOverride+xml"/>
  <Override PartName="/ppt/charts/chart126.xml" ContentType="application/vnd.openxmlformats-officedocument.drawingml.chart+xml"/>
  <Override PartName="/ppt/theme/themeOverride126.xml" ContentType="application/vnd.openxmlformats-officedocument.themeOverride+xml"/>
  <Override PartName="/ppt/tags/tag39.xml" ContentType="application/vnd.openxmlformats-officedocument.presentationml.tags+xml"/>
  <Override PartName="/ppt/notesSlides/notesSlide44.xml" ContentType="application/vnd.openxmlformats-officedocument.presentationml.notesSlide+xml"/>
  <Override PartName="/ppt/charts/chart127.xml" ContentType="application/vnd.openxmlformats-officedocument.drawingml.chart+xml"/>
  <Override PartName="/ppt/theme/themeOverride127.xml" ContentType="application/vnd.openxmlformats-officedocument.themeOverride+xml"/>
  <Override PartName="/ppt/charts/chart128.xml" ContentType="application/vnd.openxmlformats-officedocument.drawingml.chart+xml"/>
  <Override PartName="/ppt/theme/themeOverride128.xml" ContentType="application/vnd.openxmlformats-officedocument.themeOverride+xml"/>
  <Override PartName="/ppt/tags/tag40.xml" ContentType="application/vnd.openxmlformats-officedocument.presentationml.tags+xml"/>
  <Override PartName="/ppt/notesSlides/notesSlide45.xml" ContentType="application/vnd.openxmlformats-officedocument.presentationml.notesSlide+xml"/>
  <Override PartName="/ppt/charts/chart129.xml" ContentType="application/vnd.openxmlformats-officedocument.drawingml.chart+xml"/>
  <Override PartName="/ppt/theme/themeOverride129.xml" ContentType="application/vnd.openxmlformats-officedocument.themeOverride+xml"/>
  <Override PartName="/ppt/charts/chart130.xml" ContentType="application/vnd.openxmlformats-officedocument.drawingml.chart+xml"/>
  <Override PartName="/ppt/theme/themeOverride130.xml" ContentType="application/vnd.openxmlformats-officedocument.themeOverride+xml"/>
  <Override PartName="/ppt/tags/tag41.xml" ContentType="application/vnd.openxmlformats-officedocument.presentationml.tags+xml"/>
  <Override PartName="/ppt/notesSlides/notesSlide46.xml" ContentType="application/vnd.openxmlformats-officedocument.presentationml.notesSlide+xml"/>
  <Override PartName="/ppt/charts/chart131.xml" ContentType="application/vnd.openxmlformats-officedocument.drawingml.chart+xml"/>
  <Override PartName="/ppt/theme/themeOverride131.xml" ContentType="application/vnd.openxmlformats-officedocument.themeOverride+xml"/>
  <Override PartName="/ppt/charts/chart132.xml" ContentType="application/vnd.openxmlformats-officedocument.drawingml.chart+xml"/>
  <Override PartName="/ppt/theme/themeOverride132.xml" ContentType="application/vnd.openxmlformats-officedocument.themeOverride+xml"/>
  <Override PartName="/ppt/tags/tag42.xml" ContentType="application/vnd.openxmlformats-officedocument.presentationml.tags+xml"/>
  <Override PartName="/ppt/notesSlides/notesSlide47.xml" ContentType="application/vnd.openxmlformats-officedocument.presentationml.notesSlide+xml"/>
  <Override PartName="/ppt/charts/chart133.xml" ContentType="application/vnd.openxmlformats-officedocument.drawingml.chart+xml"/>
  <Override PartName="/ppt/theme/themeOverride133.xml" ContentType="application/vnd.openxmlformats-officedocument.themeOverride+xml"/>
  <Override PartName="/ppt/charts/chart134.xml" ContentType="application/vnd.openxmlformats-officedocument.drawingml.chart+xml"/>
  <Override PartName="/ppt/theme/themeOverride134.xml" ContentType="application/vnd.openxmlformats-officedocument.themeOverride+xml"/>
  <Override PartName="/ppt/tags/tag43.xml" ContentType="application/vnd.openxmlformats-officedocument.presentationml.tags+xml"/>
  <Override PartName="/ppt/notesSlides/notesSlide48.xml" ContentType="application/vnd.openxmlformats-officedocument.presentationml.notesSlide+xml"/>
  <Override PartName="/ppt/charts/chart135.xml" ContentType="application/vnd.openxmlformats-officedocument.drawingml.chart+xml"/>
  <Override PartName="/ppt/theme/themeOverride135.xml" ContentType="application/vnd.openxmlformats-officedocument.themeOverride+xml"/>
  <Override PartName="/ppt/charts/chart136.xml" ContentType="application/vnd.openxmlformats-officedocument.drawingml.chart+xml"/>
  <Override PartName="/ppt/theme/themeOverride136.xml" ContentType="application/vnd.openxmlformats-officedocument.themeOverride+xml"/>
  <Override PartName="/ppt/tags/tag44.xml" ContentType="application/vnd.openxmlformats-officedocument.presentationml.tags+xml"/>
  <Override PartName="/ppt/notesSlides/notesSlide49.xml" ContentType="application/vnd.openxmlformats-officedocument.presentationml.notesSlide+xml"/>
  <Override PartName="/ppt/charts/chart137.xml" ContentType="application/vnd.openxmlformats-officedocument.drawingml.chart+xml"/>
  <Override PartName="/ppt/theme/themeOverride137.xml" ContentType="application/vnd.openxmlformats-officedocument.themeOverride+xml"/>
  <Override PartName="/ppt/charts/chart138.xml" ContentType="application/vnd.openxmlformats-officedocument.drawingml.chart+xml"/>
  <Override PartName="/ppt/theme/themeOverride138.xml" ContentType="application/vnd.openxmlformats-officedocument.themeOverride+xml"/>
  <Override PartName="/ppt/charts/chart139.xml" ContentType="application/vnd.openxmlformats-officedocument.drawingml.chart+xml"/>
  <Override PartName="/ppt/theme/themeOverride139.xml" ContentType="application/vnd.openxmlformats-officedocument.themeOverride+xml"/>
  <Override PartName="/ppt/charts/chart140.xml" ContentType="application/vnd.openxmlformats-officedocument.drawingml.chart+xml"/>
  <Override PartName="/ppt/theme/themeOverride140.xml" ContentType="application/vnd.openxmlformats-officedocument.themeOverride+xml"/>
  <Override PartName="/ppt/charts/chart141.xml" ContentType="application/vnd.openxmlformats-officedocument.drawingml.chart+xml"/>
  <Override PartName="/ppt/charts/style1.xml" ContentType="application/vnd.ms-office.chartstyle+xml"/>
  <Override PartName="/ppt/charts/colors1.xml" ContentType="application/vnd.ms-office.chartcolorstyle+xml"/>
  <Override PartName="/ppt/charts/chart142.xml" ContentType="application/vnd.openxmlformats-officedocument.drawingml.chart+xml"/>
  <Override PartName="/ppt/charts/style2.xml" ContentType="application/vnd.ms-office.chartstyle+xml"/>
  <Override PartName="/ppt/charts/colors2.xml" ContentType="application/vnd.ms-office.chartcolorstyle+xml"/>
  <Override PartName="/ppt/tags/tag45.xml" ContentType="application/vnd.openxmlformats-officedocument.presentationml.tags+xml"/>
  <Override PartName="/ppt/notesSlides/notesSlide50.xml" ContentType="application/vnd.openxmlformats-officedocument.presentationml.notesSlide+xml"/>
  <Override PartName="/ppt/charts/chart143.xml" ContentType="application/vnd.openxmlformats-officedocument.drawingml.chart+xml"/>
  <Override PartName="/ppt/theme/themeOverride141.xml" ContentType="application/vnd.openxmlformats-officedocument.themeOverride+xml"/>
  <Override PartName="/ppt/charts/chart144.xml" ContentType="application/vnd.openxmlformats-officedocument.drawingml.chart+xml"/>
  <Override PartName="/ppt/theme/themeOverride142.xml" ContentType="application/vnd.openxmlformats-officedocument.themeOverride+xml"/>
  <Override PartName="/ppt/charts/chart145.xml" ContentType="application/vnd.openxmlformats-officedocument.drawingml.chart+xml"/>
  <Override PartName="/ppt/theme/themeOverride143.xml" ContentType="application/vnd.openxmlformats-officedocument.themeOverride+xml"/>
  <Override PartName="/ppt/charts/chart146.xml" ContentType="application/vnd.openxmlformats-officedocument.drawingml.chart+xml"/>
  <Override PartName="/ppt/theme/themeOverride144.xml" ContentType="application/vnd.openxmlformats-officedocument.themeOverride+xml"/>
  <Override PartName="/ppt/charts/chart147.xml" ContentType="application/vnd.openxmlformats-officedocument.drawingml.chart+xml"/>
  <Override PartName="/ppt/charts/style3.xml" ContentType="application/vnd.ms-office.chartstyle+xml"/>
  <Override PartName="/ppt/charts/colors3.xml" ContentType="application/vnd.ms-office.chartcolorstyle+xml"/>
  <Override PartName="/ppt/charts/chart148.xml" ContentType="application/vnd.openxmlformats-officedocument.drawingml.chart+xml"/>
  <Override PartName="/ppt/charts/style4.xml" ContentType="application/vnd.ms-office.chartstyle+xml"/>
  <Override PartName="/ppt/charts/colors4.xml" ContentType="application/vnd.ms-office.chartcolorstyle+xml"/>
  <Override PartName="/ppt/tags/tag46.xml" ContentType="application/vnd.openxmlformats-officedocument.presentationml.tags+xml"/>
  <Override PartName="/ppt/notesSlides/notesSlide51.xml" ContentType="application/vnd.openxmlformats-officedocument.presentationml.notesSlide+xml"/>
  <Override PartName="/ppt/charts/chart149.xml" ContentType="application/vnd.openxmlformats-officedocument.drawingml.chart+xml"/>
  <Override PartName="/ppt/theme/themeOverride145.xml" ContentType="application/vnd.openxmlformats-officedocument.themeOverride+xml"/>
  <Override PartName="/ppt/charts/chart150.xml" ContentType="application/vnd.openxmlformats-officedocument.drawingml.chart+xml"/>
  <Override PartName="/ppt/theme/themeOverride146.xml" ContentType="application/vnd.openxmlformats-officedocument.themeOverride+xml"/>
  <Override PartName="/ppt/charts/chart151.xml" ContentType="application/vnd.openxmlformats-officedocument.drawingml.chart+xml"/>
  <Override PartName="/ppt/theme/themeOverride147.xml" ContentType="application/vnd.openxmlformats-officedocument.themeOverride+xml"/>
  <Override PartName="/ppt/charts/chart152.xml" ContentType="application/vnd.openxmlformats-officedocument.drawingml.chart+xml"/>
  <Override PartName="/ppt/theme/themeOverride148.xml" ContentType="application/vnd.openxmlformats-officedocument.themeOverride+xml"/>
  <Override PartName="/ppt/charts/chart153.xml" ContentType="application/vnd.openxmlformats-officedocument.drawingml.chart+xml"/>
  <Override PartName="/ppt/charts/style5.xml" ContentType="application/vnd.ms-office.chartstyle+xml"/>
  <Override PartName="/ppt/charts/colors5.xml" ContentType="application/vnd.ms-office.chartcolorstyle+xml"/>
  <Override PartName="/ppt/charts/chart154.xml" ContentType="application/vnd.openxmlformats-officedocument.drawingml.chart+xml"/>
  <Override PartName="/ppt/charts/style6.xml" ContentType="application/vnd.ms-office.chartstyle+xml"/>
  <Override PartName="/ppt/charts/colors6.xml" ContentType="application/vnd.ms-office.chartcolorstyle+xml"/>
  <Override PartName="/ppt/tags/tag47.xml" ContentType="application/vnd.openxmlformats-officedocument.presentationml.tags+xml"/>
  <Override PartName="/ppt/notesSlides/notesSlide52.xml" ContentType="application/vnd.openxmlformats-officedocument.presentationml.notesSlide+xml"/>
  <Override PartName="/ppt/charts/chart155.xml" ContentType="application/vnd.openxmlformats-officedocument.drawingml.chart+xml"/>
  <Override PartName="/ppt/theme/themeOverride149.xml" ContentType="application/vnd.openxmlformats-officedocument.themeOverride+xml"/>
  <Override PartName="/ppt/charts/chart156.xml" ContentType="application/vnd.openxmlformats-officedocument.drawingml.chart+xml"/>
  <Override PartName="/ppt/theme/themeOverride150.xml" ContentType="application/vnd.openxmlformats-officedocument.themeOverride+xml"/>
  <Override PartName="/ppt/charts/chart157.xml" ContentType="application/vnd.openxmlformats-officedocument.drawingml.chart+xml"/>
  <Override PartName="/ppt/theme/themeOverride151.xml" ContentType="application/vnd.openxmlformats-officedocument.themeOverride+xml"/>
  <Override PartName="/ppt/charts/chart158.xml" ContentType="application/vnd.openxmlformats-officedocument.drawingml.chart+xml"/>
  <Override PartName="/ppt/theme/themeOverride152.xml" ContentType="application/vnd.openxmlformats-officedocument.themeOverride+xml"/>
  <Override PartName="/ppt/charts/chart159.xml" ContentType="application/vnd.openxmlformats-officedocument.drawingml.chart+xml"/>
  <Override PartName="/ppt/charts/style7.xml" ContentType="application/vnd.ms-office.chartstyle+xml"/>
  <Override PartName="/ppt/charts/colors7.xml" ContentType="application/vnd.ms-office.chartcolorstyle+xml"/>
  <Override PartName="/ppt/charts/chart160.xml" ContentType="application/vnd.openxmlformats-officedocument.drawingml.chart+xml"/>
  <Override PartName="/ppt/charts/style8.xml" ContentType="application/vnd.ms-office.chartstyle+xml"/>
  <Override PartName="/ppt/charts/colors8.xml" ContentType="application/vnd.ms-office.chartcolorstyle+xml"/>
  <Override PartName="/ppt/tags/tag48.xml" ContentType="application/vnd.openxmlformats-officedocument.presentationml.tags+xml"/>
  <Override PartName="/ppt/notesSlides/notesSlide53.xml" ContentType="application/vnd.openxmlformats-officedocument.presentationml.notesSlide+xml"/>
  <Override PartName="/ppt/charts/chart161.xml" ContentType="application/vnd.openxmlformats-officedocument.drawingml.chart+xml"/>
  <Override PartName="/ppt/theme/themeOverride153.xml" ContentType="application/vnd.openxmlformats-officedocument.themeOverride+xml"/>
  <Override PartName="/ppt/charts/chart162.xml" ContentType="application/vnd.openxmlformats-officedocument.drawingml.chart+xml"/>
  <Override PartName="/ppt/theme/themeOverride154.xml" ContentType="application/vnd.openxmlformats-officedocument.themeOverride+xml"/>
  <Override PartName="/ppt/charts/chart163.xml" ContentType="application/vnd.openxmlformats-officedocument.drawingml.chart+xml"/>
  <Override PartName="/ppt/theme/themeOverride155.xml" ContentType="application/vnd.openxmlformats-officedocument.themeOverride+xml"/>
  <Override PartName="/ppt/charts/chart164.xml" ContentType="application/vnd.openxmlformats-officedocument.drawingml.chart+xml"/>
  <Override PartName="/ppt/theme/themeOverride156.xml" ContentType="application/vnd.openxmlformats-officedocument.themeOverride+xml"/>
  <Override PartName="/ppt/charts/chart165.xml" ContentType="application/vnd.openxmlformats-officedocument.drawingml.chart+xml"/>
  <Override PartName="/ppt/charts/style9.xml" ContentType="application/vnd.ms-office.chartstyle+xml"/>
  <Override PartName="/ppt/charts/colors9.xml" ContentType="application/vnd.ms-office.chartcolorstyle+xml"/>
  <Override PartName="/ppt/charts/chart166.xml" ContentType="application/vnd.openxmlformats-officedocument.drawingml.chart+xml"/>
  <Override PartName="/ppt/charts/style10.xml" ContentType="application/vnd.ms-office.chartstyle+xml"/>
  <Override PartName="/ppt/charts/colors10.xml" ContentType="application/vnd.ms-office.chartcolorstyle+xml"/>
  <Override PartName="/ppt/tags/tag49.xml" ContentType="application/vnd.openxmlformats-officedocument.presentationml.tags+xml"/>
  <Override PartName="/ppt/notesSlides/notesSlide54.xml" ContentType="application/vnd.openxmlformats-officedocument.presentationml.notesSlide+xml"/>
  <Override PartName="/ppt/charts/chart167.xml" ContentType="application/vnd.openxmlformats-officedocument.drawingml.chart+xml"/>
  <Override PartName="/ppt/theme/themeOverride157.xml" ContentType="application/vnd.openxmlformats-officedocument.themeOverride+xml"/>
  <Override PartName="/ppt/charts/chart168.xml" ContentType="application/vnd.openxmlformats-officedocument.drawingml.chart+xml"/>
  <Override PartName="/ppt/theme/themeOverride158.xml" ContentType="application/vnd.openxmlformats-officedocument.themeOverride+xml"/>
  <Override PartName="/ppt/charts/chart169.xml" ContentType="application/vnd.openxmlformats-officedocument.drawingml.chart+xml"/>
  <Override PartName="/ppt/theme/themeOverride159.xml" ContentType="application/vnd.openxmlformats-officedocument.themeOverride+xml"/>
  <Override PartName="/ppt/charts/chart170.xml" ContentType="application/vnd.openxmlformats-officedocument.drawingml.chart+xml"/>
  <Override PartName="/ppt/theme/themeOverride160.xml" ContentType="application/vnd.openxmlformats-officedocument.themeOverride+xml"/>
  <Override PartName="/ppt/charts/chart17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72.xml" ContentType="application/vnd.openxmlformats-officedocument.drawingml.chart+xml"/>
  <Override PartName="/ppt/charts/style12.xml" ContentType="application/vnd.ms-office.chartstyle+xml"/>
  <Override PartName="/ppt/charts/colors12.xml" ContentType="application/vnd.ms-office.chartcolorstyle+xml"/>
  <Override PartName="/ppt/tags/tag50.xml" ContentType="application/vnd.openxmlformats-officedocument.presentationml.tags+xml"/>
  <Override PartName="/ppt/notesSlides/notesSlide55.xml" ContentType="application/vnd.openxmlformats-officedocument.presentationml.notesSlide+xml"/>
  <Override PartName="/ppt/charts/chart173.xml" ContentType="application/vnd.openxmlformats-officedocument.drawingml.chart+xml"/>
  <Override PartName="/ppt/theme/themeOverride161.xml" ContentType="application/vnd.openxmlformats-officedocument.themeOverride+xml"/>
  <Override PartName="/ppt/charts/chart174.xml" ContentType="application/vnd.openxmlformats-officedocument.drawingml.chart+xml"/>
  <Override PartName="/ppt/theme/themeOverride162.xml" ContentType="application/vnd.openxmlformats-officedocument.themeOverride+xml"/>
  <Override PartName="/ppt/charts/chart175.xml" ContentType="application/vnd.openxmlformats-officedocument.drawingml.chart+xml"/>
  <Override PartName="/ppt/theme/themeOverride163.xml" ContentType="application/vnd.openxmlformats-officedocument.themeOverride+xml"/>
  <Override PartName="/ppt/charts/chart176.xml" ContentType="application/vnd.openxmlformats-officedocument.drawingml.chart+xml"/>
  <Override PartName="/ppt/theme/themeOverride164.xml" ContentType="application/vnd.openxmlformats-officedocument.themeOverride+xml"/>
  <Override PartName="/ppt/charts/chart177.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78.xml" ContentType="application/vnd.openxmlformats-officedocument.drawingml.chart+xml"/>
  <Override PartName="/ppt/charts/style14.xml" ContentType="application/vnd.ms-office.chartstyle+xml"/>
  <Override PartName="/ppt/charts/colors14.xml" ContentType="application/vnd.ms-office.chartcolorstyle+xml"/>
  <Override PartName="/ppt/tags/tag51.xml" ContentType="application/vnd.openxmlformats-officedocument.presentationml.tags+xml"/>
  <Override PartName="/ppt/notesSlides/notesSlide56.xml" ContentType="application/vnd.openxmlformats-officedocument.presentationml.notesSlide+xml"/>
  <Override PartName="/ppt/charts/chart179.xml" ContentType="application/vnd.openxmlformats-officedocument.drawingml.chart+xml"/>
  <Override PartName="/ppt/theme/themeOverride165.xml" ContentType="application/vnd.openxmlformats-officedocument.themeOverride+xml"/>
  <Override PartName="/ppt/charts/chart180.xml" ContentType="application/vnd.openxmlformats-officedocument.drawingml.chart+xml"/>
  <Override PartName="/ppt/theme/themeOverride166.xml" ContentType="application/vnd.openxmlformats-officedocument.themeOverride+xml"/>
  <Override PartName="/ppt/charts/chart181.xml" ContentType="application/vnd.openxmlformats-officedocument.drawingml.chart+xml"/>
  <Override PartName="/ppt/theme/themeOverride167.xml" ContentType="application/vnd.openxmlformats-officedocument.themeOverride+xml"/>
  <Override PartName="/ppt/charts/chart182.xml" ContentType="application/vnd.openxmlformats-officedocument.drawingml.chart+xml"/>
  <Override PartName="/ppt/theme/themeOverride168.xml" ContentType="application/vnd.openxmlformats-officedocument.themeOverride+xml"/>
  <Override PartName="/ppt/charts/chart18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84.xml" ContentType="application/vnd.openxmlformats-officedocument.drawingml.chart+xml"/>
  <Override PartName="/ppt/charts/style16.xml" ContentType="application/vnd.ms-office.chartstyle+xml"/>
  <Override PartName="/ppt/charts/colors16.xml" ContentType="application/vnd.ms-office.chartcolorstyle+xml"/>
  <Override PartName="/ppt/tags/tag52.xml" ContentType="application/vnd.openxmlformats-officedocument.presentationml.tags+xml"/>
  <Override PartName="/ppt/notesSlides/notesSlide57.xml" ContentType="application/vnd.openxmlformats-officedocument.presentationml.notesSlide+xml"/>
  <Override PartName="/ppt/charts/chart185.xml" ContentType="application/vnd.openxmlformats-officedocument.drawingml.chart+xml"/>
  <Override PartName="/ppt/theme/themeOverride169.xml" ContentType="application/vnd.openxmlformats-officedocument.themeOverride+xml"/>
  <Override PartName="/ppt/charts/chart186.xml" ContentType="application/vnd.openxmlformats-officedocument.drawingml.chart+xml"/>
  <Override PartName="/ppt/theme/themeOverride170.xml" ContentType="application/vnd.openxmlformats-officedocument.themeOverride+xml"/>
  <Override PartName="/ppt/charts/chart187.xml" ContentType="application/vnd.openxmlformats-officedocument.drawingml.chart+xml"/>
  <Override PartName="/ppt/theme/themeOverride171.xml" ContentType="application/vnd.openxmlformats-officedocument.themeOverride+xml"/>
  <Override PartName="/ppt/charts/chart188.xml" ContentType="application/vnd.openxmlformats-officedocument.drawingml.chart+xml"/>
  <Override PartName="/ppt/theme/themeOverride172.xml" ContentType="application/vnd.openxmlformats-officedocument.themeOverride+xml"/>
  <Override PartName="/ppt/charts/chart189.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90.xml" ContentType="application/vnd.openxmlformats-officedocument.drawingml.chart+xml"/>
  <Override PartName="/ppt/charts/style18.xml" ContentType="application/vnd.ms-office.chartstyle+xml"/>
  <Override PartName="/ppt/charts/colors18.xml" ContentType="application/vnd.ms-office.chartcolorstyle+xml"/>
  <Override PartName="/ppt/tags/tag53.xml" ContentType="application/vnd.openxmlformats-officedocument.presentationml.tags+xml"/>
  <Override PartName="/ppt/notesSlides/notesSlide58.xml" ContentType="application/vnd.openxmlformats-officedocument.presentationml.notesSlide+xml"/>
  <Override PartName="/ppt/charts/chart191.xml" ContentType="application/vnd.openxmlformats-officedocument.drawingml.chart+xml"/>
  <Override PartName="/ppt/theme/themeOverride173.xml" ContentType="application/vnd.openxmlformats-officedocument.themeOverride+xml"/>
  <Override PartName="/ppt/charts/chart192.xml" ContentType="application/vnd.openxmlformats-officedocument.drawingml.chart+xml"/>
  <Override PartName="/ppt/theme/themeOverride174.xml" ContentType="application/vnd.openxmlformats-officedocument.themeOverride+xml"/>
  <Override PartName="/ppt/charts/chart193.xml" ContentType="application/vnd.openxmlformats-officedocument.drawingml.chart+xml"/>
  <Override PartName="/ppt/theme/themeOverride175.xml" ContentType="application/vnd.openxmlformats-officedocument.themeOverride+xml"/>
  <Override PartName="/ppt/charts/chart194.xml" ContentType="application/vnd.openxmlformats-officedocument.drawingml.chart+xml"/>
  <Override PartName="/ppt/theme/themeOverride176.xml" ContentType="application/vnd.openxmlformats-officedocument.themeOverride+xml"/>
  <Override PartName="/ppt/charts/chart195.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196.xml" ContentType="application/vnd.openxmlformats-officedocument.drawingml.chart+xml"/>
  <Override PartName="/ppt/charts/style20.xml" ContentType="application/vnd.ms-office.chartstyle+xml"/>
  <Override PartName="/ppt/charts/colors20.xml" ContentType="application/vnd.ms-office.chartcolorstyle+xml"/>
  <Override PartName="/ppt/tags/tag54.xml" ContentType="application/vnd.openxmlformats-officedocument.presentationml.tags+xml"/>
  <Override PartName="/ppt/notesSlides/notesSlide59.xml" ContentType="application/vnd.openxmlformats-officedocument.presentationml.notesSlide+xml"/>
  <Override PartName="/ppt/charts/chart197.xml" ContentType="application/vnd.openxmlformats-officedocument.drawingml.chart+xml"/>
  <Override PartName="/ppt/theme/themeOverride177.xml" ContentType="application/vnd.openxmlformats-officedocument.themeOverride+xml"/>
  <Override PartName="/ppt/charts/chart198.xml" ContentType="application/vnd.openxmlformats-officedocument.drawingml.chart+xml"/>
  <Override PartName="/ppt/theme/themeOverride178.xml" ContentType="application/vnd.openxmlformats-officedocument.themeOverride+xml"/>
  <Override PartName="/ppt/charts/chart199.xml" ContentType="application/vnd.openxmlformats-officedocument.drawingml.chart+xml"/>
  <Override PartName="/ppt/theme/themeOverride179.xml" ContentType="application/vnd.openxmlformats-officedocument.themeOverride+xml"/>
  <Override PartName="/ppt/charts/chart200.xml" ContentType="application/vnd.openxmlformats-officedocument.drawingml.chart+xml"/>
  <Override PartName="/ppt/theme/themeOverride180.xml" ContentType="application/vnd.openxmlformats-officedocument.themeOverride+xml"/>
  <Override PartName="/ppt/charts/chart20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2.xml" ContentType="application/vnd.openxmlformats-officedocument.drawingml.chart+xml"/>
  <Override PartName="/ppt/charts/style22.xml" ContentType="application/vnd.ms-office.chartstyle+xml"/>
  <Override PartName="/ppt/charts/colors22.xml" ContentType="application/vnd.ms-office.chartcolorstyle+xml"/>
  <Override PartName="/ppt/tags/tag55.xml" ContentType="application/vnd.openxmlformats-officedocument.presentationml.tags+xml"/>
  <Override PartName="/ppt/notesSlides/notesSlide60.xml" ContentType="application/vnd.openxmlformats-officedocument.presentationml.notesSlide+xml"/>
  <Override PartName="/ppt/charts/chart203.xml" ContentType="application/vnd.openxmlformats-officedocument.drawingml.chart+xml"/>
  <Override PartName="/ppt/theme/themeOverride181.xml" ContentType="application/vnd.openxmlformats-officedocument.themeOverride+xml"/>
  <Override PartName="/ppt/charts/chart204.xml" ContentType="application/vnd.openxmlformats-officedocument.drawingml.chart+xml"/>
  <Override PartName="/ppt/theme/themeOverride182.xml" ContentType="application/vnd.openxmlformats-officedocument.themeOverride+xml"/>
  <Override PartName="/ppt/charts/chart205.xml" ContentType="application/vnd.openxmlformats-officedocument.drawingml.chart+xml"/>
  <Override PartName="/ppt/theme/themeOverride183.xml" ContentType="application/vnd.openxmlformats-officedocument.themeOverride+xml"/>
  <Override PartName="/ppt/charts/chart206.xml" ContentType="application/vnd.openxmlformats-officedocument.drawingml.chart+xml"/>
  <Override PartName="/ppt/theme/themeOverride184.xml" ContentType="application/vnd.openxmlformats-officedocument.themeOverride+xml"/>
  <Override PartName="/ppt/charts/chart207.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08.xml" ContentType="application/vnd.openxmlformats-officedocument.drawingml.chart+xml"/>
  <Override PartName="/ppt/charts/style24.xml" ContentType="application/vnd.ms-office.chartstyle+xml"/>
  <Override PartName="/ppt/charts/colors24.xml" ContentType="application/vnd.ms-office.chartcolorstyle+xml"/>
  <Override PartName="/ppt/tags/tag56.xml" ContentType="application/vnd.openxmlformats-officedocument.presentationml.tags+xml"/>
  <Override PartName="/ppt/notesSlides/notesSlide61.xml" ContentType="application/vnd.openxmlformats-officedocument.presentationml.notesSlide+xml"/>
  <Override PartName="/ppt/charts/chart209.xml" ContentType="application/vnd.openxmlformats-officedocument.drawingml.chart+xml"/>
  <Override PartName="/ppt/theme/themeOverride185.xml" ContentType="application/vnd.openxmlformats-officedocument.themeOverride+xml"/>
  <Override PartName="/ppt/charts/chart210.xml" ContentType="application/vnd.openxmlformats-officedocument.drawingml.chart+xml"/>
  <Override PartName="/ppt/theme/themeOverride186.xml" ContentType="application/vnd.openxmlformats-officedocument.themeOverride+xml"/>
  <Override PartName="/ppt/charts/chart211.xml" ContentType="application/vnd.openxmlformats-officedocument.drawingml.chart+xml"/>
  <Override PartName="/ppt/theme/themeOverride187.xml" ContentType="application/vnd.openxmlformats-officedocument.themeOverride+xml"/>
  <Override PartName="/ppt/charts/chart212.xml" ContentType="application/vnd.openxmlformats-officedocument.drawingml.chart+xml"/>
  <Override PartName="/ppt/theme/themeOverride188.xml" ContentType="application/vnd.openxmlformats-officedocument.themeOverride+xml"/>
  <Override PartName="/ppt/charts/chart213.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14.xml" ContentType="application/vnd.openxmlformats-officedocument.drawingml.chart+xml"/>
  <Override PartName="/ppt/charts/style26.xml" ContentType="application/vnd.ms-office.chartstyle+xml"/>
  <Override PartName="/ppt/charts/colors26.xml" ContentType="application/vnd.ms-office.chartcolorstyle+xml"/>
  <Override PartName="/ppt/tags/tag57.xml" ContentType="application/vnd.openxmlformats-officedocument.presentationml.tags+xml"/>
  <Override PartName="/ppt/notesSlides/notesSlide62.xml" ContentType="application/vnd.openxmlformats-officedocument.presentationml.notesSlide+xml"/>
  <Override PartName="/ppt/charts/chart215.xml" ContentType="application/vnd.openxmlformats-officedocument.drawingml.chart+xml"/>
  <Override PartName="/ppt/theme/themeOverride189.xml" ContentType="application/vnd.openxmlformats-officedocument.themeOverride+xml"/>
  <Override PartName="/ppt/charts/chart216.xml" ContentType="application/vnd.openxmlformats-officedocument.drawingml.chart+xml"/>
  <Override PartName="/ppt/theme/themeOverride190.xml" ContentType="application/vnd.openxmlformats-officedocument.themeOverride+xml"/>
  <Override PartName="/ppt/charts/chart217.xml" ContentType="application/vnd.openxmlformats-officedocument.drawingml.chart+xml"/>
  <Override PartName="/ppt/theme/themeOverride191.xml" ContentType="application/vnd.openxmlformats-officedocument.themeOverride+xml"/>
  <Override PartName="/ppt/charts/chart218.xml" ContentType="application/vnd.openxmlformats-officedocument.drawingml.chart+xml"/>
  <Override PartName="/ppt/theme/themeOverride192.xml" ContentType="application/vnd.openxmlformats-officedocument.themeOverride+xml"/>
  <Override PartName="/ppt/charts/chart219.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20.xml" ContentType="application/vnd.openxmlformats-officedocument.drawingml.chart+xml"/>
  <Override PartName="/ppt/charts/style28.xml" ContentType="application/vnd.ms-office.chartstyle+xml"/>
  <Override PartName="/ppt/charts/colors28.xml" ContentType="application/vnd.ms-office.chartcolorstyle+xml"/>
  <Override PartName="/ppt/tags/tag58.xml" ContentType="application/vnd.openxmlformats-officedocument.presentationml.tags+xml"/>
  <Override PartName="/ppt/notesSlides/notesSlide63.xml" ContentType="application/vnd.openxmlformats-officedocument.presentationml.notesSlide+xml"/>
  <Override PartName="/ppt/charts/chart221.xml" ContentType="application/vnd.openxmlformats-officedocument.drawingml.chart+xml"/>
  <Override PartName="/ppt/theme/themeOverride193.xml" ContentType="application/vnd.openxmlformats-officedocument.themeOverride+xml"/>
  <Override PartName="/ppt/charts/chart222.xml" ContentType="application/vnd.openxmlformats-officedocument.drawingml.chart+xml"/>
  <Override PartName="/ppt/theme/themeOverride194.xml" ContentType="application/vnd.openxmlformats-officedocument.themeOverride+xml"/>
  <Override PartName="/ppt/charts/chart223.xml" ContentType="application/vnd.openxmlformats-officedocument.drawingml.chart+xml"/>
  <Override PartName="/ppt/theme/themeOverride195.xml" ContentType="application/vnd.openxmlformats-officedocument.themeOverride+xml"/>
  <Override PartName="/ppt/charts/chart224.xml" ContentType="application/vnd.openxmlformats-officedocument.drawingml.chart+xml"/>
  <Override PartName="/ppt/theme/themeOverride196.xml" ContentType="application/vnd.openxmlformats-officedocument.themeOverride+xml"/>
  <Override PartName="/ppt/charts/chart225.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26.xml" ContentType="application/vnd.openxmlformats-officedocument.drawingml.chart+xml"/>
  <Override PartName="/ppt/charts/style30.xml" ContentType="application/vnd.ms-office.chartstyle+xml"/>
  <Override PartName="/ppt/charts/colors30.xml" ContentType="application/vnd.ms-office.chartcolorstyle+xml"/>
  <Override PartName="/ppt/tags/tag59.xml" ContentType="application/vnd.openxmlformats-officedocument.presentationml.tags+xml"/>
  <Override PartName="/ppt/notesSlides/notesSlide64.xml" ContentType="application/vnd.openxmlformats-officedocument.presentationml.notesSlide+xml"/>
  <Override PartName="/ppt/charts/chart227.xml" ContentType="application/vnd.openxmlformats-officedocument.drawingml.chart+xml"/>
  <Override PartName="/ppt/theme/themeOverride197.xml" ContentType="application/vnd.openxmlformats-officedocument.themeOverride+xml"/>
  <Override PartName="/ppt/charts/chart228.xml" ContentType="application/vnd.openxmlformats-officedocument.drawingml.chart+xml"/>
  <Override PartName="/ppt/theme/themeOverride198.xml" ContentType="application/vnd.openxmlformats-officedocument.themeOverride+xml"/>
  <Override PartName="/ppt/charts/chart229.xml" ContentType="application/vnd.openxmlformats-officedocument.drawingml.chart+xml"/>
  <Override PartName="/ppt/theme/themeOverride199.xml" ContentType="application/vnd.openxmlformats-officedocument.themeOverride+xml"/>
  <Override PartName="/ppt/charts/chart230.xml" ContentType="application/vnd.openxmlformats-officedocument.drawingml.chart+xml"/>
  <Override PartName="/ppt/theme/themeOverride200.xml" ContentType="application/vnd.openxmlformats-officedocument.themeOverride+xml"/>
  <Override PartName="/ppt/charts/chart2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232.xml" ContentType="application/vnd.openxmlformats-officedocument.drawingml.chart+xml"/>
  <Override PartName="/ppt/charts/style32.xml" ContentType="application/vnd.ms-office.chartstyle+xml"/>
  <Override PartName="/ppt/charts/colors32.xml" ContentType="application/vnd.ms-office.chartcolorstyle+xml"/>
  <Override PartName="/ppt/tags/tag60.xml" ContentType="application/vnd.openxmlformats-officedocument.presentationml.tags+xml"/>
  <Override PartName="/ppt/notesSlides/notesSlide65.xml" ContentType="application/vnd.openxmlformats-officedocument.presentationml.notesSlide+xml"/>
  <Override PartName="/ppt/charts/chart233.xml" ContentType="application/vnd.openxmlformats-officedocument.drawingml.chart+xml"/>
  <Override PartName="/ppt/theme/themeOverride201.xml" ContentType="application/vnd.openxmlformats-officedocument.themeOverride+xml"/>
  <Override PartName="/ppt/charts/chart234.xml" ContentType="application/vnd.openxmlformats-officedocument.drawingml.chart+xml"/>
  <Override PartName="/ppt/theme/themeOverride202.xml" ContentType="application/vnd.openxmlformats-officedocument.themeOverride+xml"/>
  <Override PartName="/ppt/charts/chart235.xml" ContentType="application/vnd.openxmlformats-officedocument.drawingml.chart+xml"/>
  <Override PartName="/ppt/theme/themeOverride203.xml" ContentType="application/vnd.openxmlformats-officedocument.themeOverride+xml"/>
  <Override PartName="/ppt/charts/chart236.xml" ContentType="application/vnd.openxmlformats-officedocument.drawingml.chart+xml"/>
  <Override PartName="/ppt/theme/themeOverride204.xml" ContentType="application/vnd.openxmlformats-officedocument.themeOverride+xml"/>
  <Override PartName="/ppt/charts/chart237.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238.xml" ContentType="application/vnd.openxmlformats-officedocument.drawingml.chart+xml"/>
  <Override PartName="/ppt/charts/style34.xml" ContentType="application/vnd.ms-office.chartstyle+xml"/>
  <Override PartName="/ppt/charts/colors34.xml" ContentType="application/vnd.ms-office.chartcolorstyle+xml"/>
  <Override PartName="/ppt/tags/tag61.xml" ContentType="application/vnd.openxmlformats-officedocument.presentationml.tags+xml"/>
  <Override PartName="/ppt/notesSlides/notesSlide66.xml" ContentType="application/vnd.openxmlformats-officedocument.presentationml.notesSlide+xml"/>
  <Override PartName="/ppt/charts/chart239.xml" ContentType="application/vnd.openxmlformats-officedocument.drawingml.chart+xml"/>
  <Override PartName="/ppt/theme/themeOverride205.xml" ContentType="application/vnd.openxmlformats-officedocument.themeOverride+xml"/>
  <Override PartName="/ppt/charts/chart240.xml" ContentType="application/vnd.openxmlformats-officedocument.drawingml.chart+xml"/>
  <Override PartName="/ppt/theme/themeOverride206.xml" ContentType="application/vnd.openxmlformats-officedocument.themeOverride+xml"/>
  <Override PartName="/ppt/charts/chart241.xml" ContentType="application/vnd.openxmlformats-officedocument.drawingml.chart+xml"/>
  <Override PartName="/ppt/theme/themeOverride207.xml" ContentType="application/vnd.openxmlformats-officedocument.themeOverride+xml"/>
  <Override PartName="/ppt/charts/chart242.xml" ContentType="application/vnd.openxmlformats-officedocument.drawingml.chart+xml"/>
  <Override PartName="/ppt/theme/themeOverride208.xml" ContentType="application/vnd.openxmlformats-officedocument.themeOverride+xml"/>
  <Override PartName="/ppt/charts/chart243.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244.xml" ContentType="application/vnd.openxmlformats-officedocument.drawingml.chart+xml"/>
  <Override PartName="/ppt/charts/style36.xml" ContentType="application/vnd.ms-office.chartstyle+xml"/>
  <Override PartName="/ppt/charts/colors36.xml" ContentType="application/vnd.ms-office.chartcolorstyle+xml"/>
  <Override PartName="/ppt/tags/tag62.xml" ContentType="application/vnd.openxmlformats-officedocument.presentationml.tags+xml"/>
  <Override PartName="/ppt/notesSlides/notesSlide67.xml" ContentType="application/vnd.openxmlformats-officedocument.presentationml.notesSlide+xml"/>
  <Override PartName="/ppt/charts/chart245.xml" ContentType="application/vnd.openxmlformats-officedocument.drawingml.chart+xml"/>
  <Override PartName="/ppt/theme/themeOverride209.xml" ContentType="application/vnd.openxmlformats-officedocument.themeOverride+xml"/>
  <Override PartName="/ppt/charts/chart246.xml" ContentType="application/vnd.openxmlformats-officedocument.drawingml.chart+xml"/>
  <Override PartName="/ppt/theme/themeOverride210.xml" ContentType="application/vnd.openxmlformats-officedocument.themeOverride+xml"/>
  <Override PartName="/ppt/charts/chart247.xml" ContentType="application/vnd.openxmlformats-officedocument.drawingml.chart+xml"/>
  <Override PartName="/ppt/theme/themeOverride211.xml" ContentType="application/vnd.openxmlformats-officedocument.themeOverride+xml"/>
  <Override PartName="/ppt/charts/chart248.xml" ContentType="application/vnd.openxmlformats-officedocument.drawingml.chart+xml"/>
  <Override PartName="/ppt/theme/themeOverride212.xml" ContentType="application/vnd.openxmlformats-officedocument.themeOverride+xml"/>
  <Override PartName="/ppt/charts/chart249.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250.xml" ContentType="application/vnd.openxmlformats-officedocument.drawingml.chart+xml"/>
  <Override PartName="/ppt/charts/style38.xml" ContentType="application/vnd.ms-office.chartstyle+xml"/>
  <Override PartName="/ppt/charts/colors38.xml" ContentType="application/vnd.ms-office.chartcolorstyle+xml"/>
  <Override PartName="/ppt/tags/tag63.xml" ContentType="application/vnd.openxmlformats-officedocument.presentationml.tags+xml"/>
  <Override PartName="/ppt/notesSlides/notesSlide68.xml" ContentType="application/vnd.openxmlformats-officedocument.presentationml.notesSlide+xml"/>
  <Override PartName="/ppt/charts/chart251.xml" ContentType="application/vnd.openxmlformats-officedocument.drawingml.chart+xml"/>
  <Override PartName="/ppt/charts/style39.xml" ContentType="application/vnd.ms-office.chartstyle+xml"/>
  <Override PartName="/ppt/charts/colors39.xml" ContentType="application/vnd.ms-office.chartcolorstyle+xml"/>
  <Override PartName="/ppt/tags/tag64.xml" ContentType="application/vnd.openxmlformats-officedocument.presentationml.tags+xml"/>
  <Override PartName="/ppt/notesSlides/notesSlide69.xml" ContentType="application/vnd.openxmlformats-officedocument.presentationml.notesSlide+xml"/>
  <Override PartName="/ppt/charts/chart252.xml" ContentType="application/vnd.openxmlformats-officedocument.drawingml.chart+xml"/>
  <Override PartName="/ppt/charts/style40.xml" ContentType="application/vnd.ms-office.chartstyle+xml"/>
  <Override PartName="/ppt/charts/colors40.xml" ContentType="application/vnd.ms-office.chartcolorstyle+xml"/>
  <Override PartName="/ppt/tags/tag65.xml" ContentType="application/vnd.openxmlformats-officedocument.presentationml.tags+xml"/>
  <Override PartName="/ppt/notesSlides/notesSlide70.xml" ContentType="application/vnd.openxmlformats-officedocument.presentationml.notesSlide+xml"/>
  <Override PartName="/ppt/charts/chart253.xml" ContentType="application/vnd.openxmlformats-officedocument.drawingml.chart+xml"/>
  <Override PartName="/ppt/charts/style41.xml" ContentType="application/vnd.ms-office.chartstyle+xml"/>
  <Override PartName="/ppt/charts/colors41.xml" ContentType="application/vnd.ms-office.chartcolorstyle+xml"/>
  <Override PartName="/ppt/tags/tag66.xml" ContentType="application/vnd.openxmlformats-officedocument.presentationml.tags+xml"/>
  <Override PartName="/ppt/notesSlides/notesSlide71.xml" ContentType="application/vnd.openxmlformats-officedocument.presentationml.notesSlide+xml"/>
  <Override PartName="/ppt/charts/chart254.xml" ContentType="application/vnd.openxmlformats-officedocument.drawingml.chart+xml"/>
  <Override PartName="/ppt/charts/style42.xml" ContentType="application/vnd.ms-office.chartstyle+xml"/>
  <Override PartName="/ppt/charts/colors42.xml" ContentType="application/vnd.ms-office.chartcolorstyle+xml"/>
  <Override PartName="/ppt/tags/tag67.xml" ContentType="application/vnd.openxmlformats-officedocument.presentationml.tags+xml"/>
  <Override PartName="/ppt/notesSlides/notesSlide72.xml" ContentType="application/vnd.openxmlformats-officedocument.presentationml.notesSlide+xml"/>
  <Override PartName="/ppt/charts/chart255.xml" ContentType="application/vnd.openxmlformats-officedocument.drawingml.chart+xml"/>
  <Override PartName="/ppt/charts/style43.xml" ContentType="application/vnd.ms-office.chartstyle+xml"/>
  <Override PartName="/ppt/charts/colors43.xml" ContentType="application/vnd.ms-office.chartcolorstyle+xml"/>
  <Override PartName="/ppt/tags/tag68.xml" ContentType="application/vnd.openxmlformats-officedocument.presentationml.tags+xml"/>
  <Override PartName="/ppt/notesSlides/notesSlide73.xml" ContentType="application/vnd.openxmlformats-officedocument.presentationml.notesSlide+xml"/>
  <Override PartName="/ppt/charts/chart256.xml" ContentType="application/vnd.openxmlformats-officedocument.drawingml.chart+xml"/>
  <Override PartName="/ppt/charts/style44.xml" ContentType="application/vnd.ms-office.chartstyle+xml"/>
  <Override PartName="/ppt/charts/colors44.xml" ContentType="application/vnd.ms-office.chartcolorstyle+xml"/>
  <Override PartName="/ppt/tags/tag69.xml" ContentType="application/vnd.openxmlformats-officedocument.presentationml.tags+xml"/>
  <Override PartName="/ppt/notesSlides/notesSlide74.xml" ContentType="application/vnd.openxmlformats-officedocument.presentationml.notesSlide+xml"/>
  <Override PartName="/ppt/charts/chart257.xml" ContentType="application/vnd.openxmlformats-officedocument.drawingml.chart+xml"/>
  <Override PartName="/ppt/charts/style45.xml" ContentType="application/vnd.ms-office.chartstyle+xml"/>
  <Override PartName="/ppt/charts/colors45.xml" ContentType="application/vnd.ms-office.chartcolorstyle+xml"/>
  <Override PartName="/ppt/tags/tag70.xml" ContentType="application/vnd.openxmlformats-officedocument.presentationml.tags+xml"/>
  <Override PartName="/ppt/notesSlides/notesSlide75.xml" ContentType="application/vnd.openxmlformats-officedocument.presentationml.notesSlide+xml"/>
  <Override PartName="/ppt/charts/chart258.xml" ContentType="application/vnd.openxmlformats-officedocument.drawingml.chart+xml"/>
  <Override PartName="/ppt/charts/style46.xml" ContentType="application/vnd.ms-office.chartstyle+xml"/>
  <Override PartName="/ppt/charts/colors46.xml" ContentType="application/vnd.ms-office.chartcolorstyle+xml"/>
  <Override PartName="/ppt/tags/tag71.xml" ContentType="application/vnd.openxmlformats-officedocument.presentationml.tags+xml"/>
  <Override PartName="/ppt/notesSlides/notesSlide76.xml" ContentType="application/vnd.openxmlformats-officedocument.presentationml.notesSlide+xml"/>
  <Override PartName="/ppt/charts/chart259.xml" ContentType="application/vnd.openxmlformats-officedocument.drawingml.chart+xml"/>
  <Override PartName="/ppt/charts/style47.xml" ContentType="application/vnd.ms-office.chartstyle+xml"/>
  <Override PartName="/ppt/charts/colors47.xml" ContentType="application/vnd.ms-office.chartcolorstyle+xml"/>
  <Override PartName="/ppt/tags/tag72.xml" ContentType="application/vnd.openxmlformats-officedocument.presentationml.tags+xml"/>
  <Override PartName="/ppt/notesSlides/notesSlide77.xml" ContentType="application/vnd.openxmlformats-officedocument.presentationml.notesSlide+xml"/>
  <Override PartName="/ppt/charts/chart260.xml" ContentType="application/vnd.openxmlformats-officedocument.drawingml.chart+xml"/>
  <Override PartName="/ppt/charts/style48.xml" ContentType="application/vnd.ms-office.chartstyle+xml"/>
  <Override PartName="/ppt/charts/colors48.xml" ContentType="application/vnd.ms-office.chartcolorstyle+xml"/>
  <Override PartName="/ppt/tags/tag73.xml" ContentType="application/vnd.openxmlformats-officedocument.presentationml.tags+xml"/>
  <Override PartName="/ppt/notesSlides/notesSlide78.xml" ContentType="application/vnd.openxmlformats-officedocument.presentationml.notesSlide+xml"/>
  <Override PartName="/ppt/charts/chart261.xml" ContentType="application/vnd.openxmlformats-officedocument.drawingml.chart+xml"/>
  <Override PartName="/ppt/charts/style49.xml" ContentType="application/vnd.ms-office.chartstyle+xml"/>
  <Override PartName="/ppt/charts/colors49.xml" ContentType="application/vnd.ms-office.chartcolorstyle+xml"/>
  <Override PartName="/ppt/tags/tag74.xml" ContentType="application/vnd.openxmlformats-officedocument.presentationml.tags+xml"/>
  <Override PartName="/ppt/notesSlides/notesSlide79.xml" ContentType="application/vnd.openxmlformats-officedocument.presentationml.notesSlide+xml"/>
  <Override PartName="/ppt/charts/chart262.xml" ContentType="application/vnd.openxmlformats-officedocument.drawingml.chart+xml"/>
  <Override PartName="/ppt/charts/style50.xml" ContentType="application/vnd.ms-office.chartstyle+xml"/>
  <Override PartName="/ppt/charts/colors50.xml" ContentType="application/vnd.ms-office.chartcolorstyle+xml"/>
  <Override PartName="/ppt/tags/tag75.xml" ContentType="application/vnd.openxmlformats-officedocument.presentationml.tags+xml"/>
  <Override PartName="/ppt/notesSlides/notesSlide80.xml" ContentType="application/vnd.openxmlformats-officedocument.presentationml.notesSlide+xml"/>
  <Override PartName="/ppt/charts/chart263.xml" ContentType="application/vnd.openxmlformats-officedocument.drawingml.chart+xml"/>
  <Override PartName="/ppt/charts/style51.xml" ContentType="application/vnd.ms-office.chartstyle+xml"/>
  <Override PartName="/ppt/charts/colors51.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85"/>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 id="2147475198" r:id="rId33"/>
    <p:sldId id="2147475199" r:id="rId34"/>
    <p:sldId id="2147475200" r:id="rId35"/>
    <p:sldId id="2147475201" r:id="rId36"/>
    <p:sldId id="2147475202" r:id="rId37"/>
    <p:sldId id="2147475203" r:id="rId38"/>
    <p:sldId id="2147475204" r:id="rId39"/>
    <p:sldId id="2147475205" r:id="rId40"/>
    <p:sldId id="2147475206" r:id="rId41"/>
    <p:sldId id="2147475207" r:id="rId42"/>
    <p:sldId id="2147475208" r:id="rId43"/>
    <p:sldId id="2147475209" r:id="rId44"/>
    <p:sldId id="2147475210" r:id="rId45"/>
    <p:sldId id="2147475211" r:id="rId46"/>
    <p:sldId id="2147475212" r:id="rId47"/>
    <p:sldId id="2147475213" r:id="rId48"/>
    <p:sldId id="2147475214" r:id="rId49"/>
    <p:sldId id="2147475215" r:id="rId50"/>
    <p:sldId id="2147475216" r:id="rId51"/>
    <p:sldId id="2147475217" r:id="rId52"/>
    <p:sldId id="2147475218" r:id="rId53"/>
    <p:sldId id="2147475219" r:id="rId54"/>
    <p:sldId id="2147475220" r:id="rId55"/>
    <p:sldId id="2147475221" r:id="rId56"/>
    <p:sldId id="2147475222" r:id="rId57"/>
    <p:sldId id="2147475223" r:id="rId58"/>
    <p:sldId id="2147475224" r:id="rId59"/>
    <p:sldId id="2147475225" r:id="rId60"/>
    <p:sldId id="2147475226" r:id="rId61"/>
    <p:sldId id="2147475227" r:id="rId62"/>
    <p:sldId id="2147475228" r:id="rId63"/>
    <p:sldId id="2147475229" r:id="rId64"/>
    <p:sldId id="2147475230" r:id="rId65"/>
    <p:sldId id="2147475231" r:id="rId66"/>
    <p:sldId id="2147475232" r:id="rId67"/>
    <p:sldId id="2147475233" r:id="rId68"/>
    <p:sldId id="2147475234" r:id="rId69"/>
    <p:sldId id="2147475235" r:id="rId70"/>
    <p:sldId id="2147475236" r:id="rId71"/>
    <p:sldId id="2147475237" r:id="rId72"/>
    <p:sldId id="2147475238" r:id="rId73"/>
    <p:sldId id="2147475239" r:id="rId74"/>
    <p:sldId id="2147475240" r:id="rId75"/>
    <p:sldId id="2147475241" r:id="rId76"/>
    <p:sldId id="2147475242" r:id="rId77"/>
    <p:sldId id="2147475243" r:id="rId78"/>
    <p:sldId id="2147475244" r:id="rId79"/>
    <p:sldId id="2147475245" r:id="rId80"/>
    <p:sldId id="2147475246" r:id="rId81"/>
    <p:sldId id="2147475247" r:id="rId82"/>
    <p:sldId id="2147475248" r:id="rId83"/>
    <p:sldId id="2147475249" r:id="rId8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hare and Growth By Manufacturer/Brands" id="{7D350025-092E-4003-87D5-7A566E943CF6}">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Lst>
        </p14:section>
        <p14:section name="Share And Growth By Manufacturer By Retailer" id="{A35195E3-CF31-4758-A033-F4AB240EE5AF}">
          <p14:sldIdLst>
            <p14:sldId id="2147475182"/>
            <p14:sldId id="2147475183"/>
            <p14:sldId id="2147475184"/>
            <p14:sldId id="2147475185"/>
            <p14:sldId id="2147475186"/>
            <p14:sldId id="2147475187"/>
          </p14:sldIdLst>
        </p14:section>
        <p14:section name="Share And Growth By Brands By Retailer" id="{54AB0140-91B2-4859-AD96-8A89D81AA203}">
          <p14:sldIdLst>
            <p14:sldId id="2147475188"/>
            <p14:sldId id="2147475189"/>
            <p14:sldId id="2147475190"/>
            <p14:sldId id="2147475191"/>
            <p14:sldId id="2147475192"/>
            <p14:sldId id="2147475193"/>
          </p14:sldIdLst>
        </p14:section>
        <p14:section name="Share And Growth By Manufacturer By Sector" id="{972942E3-9735-4433-B748-D301C1D7E445}">
          <p14:sldIdLst>
            <p14:sldId id="2147475194"/>
            <p14:sldId id="2147475195"/>
          </p14:sldIdLst>
        </p14:section>
        <p14:section name="Share And Growth By Brands By Sector" id="{B9037F10-B6C1-42BF-9B70-4DCDD87E7C74}">
          <p14:sldIdLst>
            <p14:sldId id="2147475196"/>
            <p14:sldId id="2147475197"/>
          </p14:sldIdLst>
        </p14:section>
        <p14:section name="Share And Growth By Manufacturer By Segment" id="{F0C5A0AE-4D09-4AAA-9639-B31AA987A84B}">
          <p14:sldIdLst>
            <p14:sldId id="2147475198"/>
            <p14:sldId id="2147475199"/>
          </p14:sldIdLst>
        </p14:section>
        <p14:section name="Share And Growth By Brands By Segment" id="{00E75D5B-A0F9-472E-9D22-34D5B4372317}">
          <p14:sldIdLst>
            <p14:sldId id="2147475200"/>
            <p14:sldId id="2147475201"/>
          </p14:sldIdLst>
        </p14:section>
        <p14:section name="Sales and Growth By Sector" id="{1534478D-D736-4BFB-88BD-D2909438C6A9}">
          <p14:sldIdLst>
            <p14:sldId id="2147475202"/>
            <p14:sldId id="2147475203"/>
            <p14:sldId id="2147475204"/>
            <p14:sldId id="2147475205"/>
            <p14:sldId id="2147475206"/>
            <p14:sldId id="2147475207"/>
            <p14:sldId id="2147475208"/>
            <p14:sldId id="2147475209"/>
          </p14:sldIdLst>
        </p14:section>
        <p14:section name="Sales and Growth By Segment" id="{789AD9CB-1142-4ACE-8D45-5E4C215F75DA}">
          <p14:sldIdLst>
            <p14:sldId id="2147475210"/>
            <p14:sldId id="2147475211"/>
            <p14:sldId id="2147475212"/>
            <p14:sldId id="2147475213"/>
            <p14:sldId id="2147475214"/>
            <p14:sldId id="2147475215"/>
            <p14:sldId id="2147475216"/>
            <p14:sldId id="2147475217"/>
          </p14:sldIdLst>
        </p14:section>
        <p14:section name="Share and Growth By Category for Region For Retailer" id="{55EF8E76-A685-4DDE-BD95-293D4DF8914F}">
          <p14:sldIdLst>
            <p14:sldId id="2147475218"/>
            <p14:sldId id="2147475219"/>
            <p14:sldId id="2147475220"/>
            <p14:sldId id="2147475221"/>
          </p14:sldIdLst>
        </p14:section>
        <p14:section name="Share and Growth By Sector for Region For Retailer" id="{D879D22A-2545-4A3A-8DFA-2AC3D49680E7}">
          <p14:sldIdLst>
            <p14:sldId id="2147475222"/>
            <p14:sldId id="2147475223"/>
            <p14:sldId id="2147475224"/>
            <p14:sldId id="2147475225"/>
            <p14:sldId id="2147475226"/>
            <p14:sldId id="2147475227"/>
          </p14:sldIdLst>
        </p14:section>
        <p14:section name="Share and Growth By Segment for Region For Retailer" id="{6AD59BDC-9EDE-45EF-B39C-5590961B1FB6}">
          <p14:sldIdLst>
            <p14:sldId id="2147475228"/>
            <p14:sldId id="2147475229"/>
            <p14:sldId id="2147475230"/>
            <p14:sldId id="2147475231"/>
            <p14:sldId id="2147475232"/>
            <p14:sldId id="2147475233"/>
            <p14:sldId id="2147475234"/>
            <p14:sldId id="2147475235"/>
            <p14:sldId id="2147475236"/>
          </p14:sldIdLst>
        </p14:section>
        <p14:section name="Momentum Analysis By Retailers" id="{72B92EA5-9FC7-41FE-B611-0393F2C31B4D}">
          <p14:sldIdLst>
            <p14:sldId id="2147475237"/>
            <p14:sldId id="2147475238"/>
            <p14:sldId id="2147475239"/>
            <p14:sldId id="2147475240"/>
            <p14:sldId id="2147475241"/>
            <p14:sldId id="2147475242"/>
          </p14:sldIdLst>
        </p14:section>
        <p14:section name="Momentum Analysis By Retailers By Segments" id="{C187085D-6AA5-4606-9E5F-F10D52FD6B0F}">
          <p14:sldIdLst>
            <p14:sldId id="2147475243"/>
          </p14:sldIdLst>
        </p14:section>
        <p14:section name="Momentum Analysis By Sectors" id="{49BAD061-F9E4-4DC7-93B0-F2283E1CC800}">
          <p14:sldIdLst>
            <p14:sldId id="2147475244"/>
            <p14:sldId id="2147475245"/>
            <p14:sldId id="2147475246"/>
          </p14:sldIdLst>
        </p14:section>
        <p14:section name="Momentum Analysis By Segments" id="{AA5EB2A5-2DD6-4B73-83DA-004E522C2BCF}">
          <p14:sldIdLst>
            <p14:sldId id="2147475247"/>
            <p14:sldId id="2147475248"/>
            <p14:sldId id="2147475249"/>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85" d="100"/>
          <a:sy n="85" d="100"/>
        </p:scale>
        <p:origin x="204" y="84"/>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tableStyles" Target="tableStyle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microsoft.com/office/2018/10/relationships/authors" Target="authors.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viewProps" Target="view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10.xml"/></Relationships>
</file>

<file path=ppt/charts/_rels/chart100.xml.rels><?xml version="1.0" encoding="UTF-8" standalone="yes"?>
<Relationships xmlns="http://schemas.openxmlformats.org/package/2006/relationships"><Relationship Id="rId2" Type="http://schemas.openxmlformats.org/officeDocument/2006/relationships/package" Target="../embeddings/Microsoft_Excel_Worksheet99.xlsx"/><Relationship Id="rId1" Type="http://schemas.openxmlformats.org/officeDocument/2006/relationships/themeOverride" Target="../theme/themeOverride100.xml"/></Relationships>
</file>

<file path=ppt/charts/_rels/chart101.xml.rels><?xml version="1.0" encoding="UTF-8" standalone="yes"?>
<Relationships xmlns="http://schemas.openxmlformats.org/package/2006/relationships"><Relationship Id="rId2" Type="http://schemas.openxmlformats.org/officeDocument/2006/relationships/package" Target="../embeddings/Microsoft_Excel_Worksheet100.xlsx"/><Relationship Id="rId1" Type="http://schemas.openxmlformats.org/officeDocument/2006/relationships/themeOverride" Target="../theme/themeOverride101.xml"/></Relationships>
</file>

<file path=ppt/charts/_rels/chart102.xml.rels><?xml version="1.0" encoding="UTF-8" standalone="yes"?>
<Relationships xmlns="http://schemas.openxmlformats.org/package/2006/relationships"><Relationship Id="rId2" Type="http://schemas.openxmlformats.org/officeDocument/2006/relationships/package" Target="../embeddings/Microsoft_Excel_Worksheet101.xlsx"/><Relationship Id="rId1" Type="http://schemas.openxmlformats.org/officeDocument/2006/relationships/themeOverride" Target="../theme/themeOverride102.xml"/></Relationships>
</file>

<file path=ppt/charts/_rels/chart103.xml.rels><?xml version="1.0" encoding="UTF-8" standalone="yes"?>
<Relationships xmlns="http://schemas.openxmlformats.org/package/2006/relationships"><Relationship Id="rId2" Type="http://schemas.openxmlformats.org/officeDocument/2006/relationships/package" Target="../embeddings/Microsoft_Excel_Worksheet102.xlsx"/><Relationship Id="rId1" Type="http://schemas.openxmlformats.org/officeDocument/2006/relationships/themeOverride" Target="../theme/themeOverride103.xml"/></Relationships>
</file>

<file path=ppt/charts/_rels/chart104.xml.rels><?xml version="1.0" encoding="UTF-8" standalone="yes"?>
<Relationships xmlns="http://schemas.openxmlformats.org/package/2006/relationships"><Relationship Id="rId2" Type="http://schemas.openxmlformats.org/officeDocument/2006/relationships/package" Target="../embeddings/Microsoft_Excel_Worksheet103.xlsx"/><Relationship Id="rId1" Type="http://schemas.openxmlformats.org/officeDocument/2006/relationships/themeOverride" Target="../theme/themeOverride104.xml"/></Relationships>
</file>

<file path=ppt/charts/_rels/chart105.xml.rels><?xml version="1.0" encoding="UTF-8" standalone="yes"?>
<Relationships xmlns="http://schemas.openxmlformats.org/package/2006/relationships"><Relationship Id="rId2" Type="http://schemas.openxmlformats.org/officeDocument/2006/relationships/package" Target="../embeddings/Microsoft_Excel_Worksheet104.xlsx"/><Relationship Id="rId1" Type="http://schemas.openxmlformats.org/officeDocument/2006/relationships/themeOverride" Target="../theme/themeOverride105.xml"/></Relationships>
</file>

<file path=ppt/charts/_rels/chart106.xml.rels><?xml version="1.0" encoding="UTF-8" standalone="yes"?>
<Relationships xmlns="http://schemas.openxmlformats.org/package/2006/relationships"><Relationship Id="rId2" Type="http://schemas.openxmlformats.org/officeDocument/2006/relationships/package" Target="../embeddings/Microsoft_Excel_Worksheet105.xlsx"/><Relationship Id="rId1" Type="http://schemas.openxmlformats.org/officeDocument/2006/relationships/themeOverride" Target="../theme/themeOverride106.xml"/></Relationships>
</file>

<file path=ppt/charts/_rels/chart107.xml.rels><?xml version="1.0" encoding="UTF-8" standalone="yes"?>
<Relationships xmlns="http://schemas.openxmlformats.org/package/2006/relationships"><Relationship Id="rId2" Type="http://schemas.openxmlformats.org/officeDocument/2006/relationships/package" Target="../embeddings/Microsoft_Excel_Worksheet106.xlsx"/><Relationship Id="rId1" Type="http://schemas.openxmlformats.org/officeDocument/2006/relationships/themeOverride" Target="../theme/themeOverride107.xml"/></Relationships>
</file>

<file path=ppt/charts/_rels/chart108.xml.rels><?xml version="1.0" encoding="UTF-8" standalone="yes"?>
<Relationships xmlns="http://schemas.openxmlformats.org/package/2006/relationships"><Relationship Id="rId2" Type="http://schemas.openxmlformats.org/officeDocument/2006/relationships/package" Target="../embeddings/Microsoft_Excel_Worksheet107.xlsx"/><Relationship Id="rId1" Type="http://schemas.openxmlformats.org/officeDocument/2006/relationships/themeOverride" Target="../theme/themeOverride108.xml"/></Relationships>
</file>

<file path=ppt/charts/_rels/chart109.xml.rels><?xml version="1.0" encoding="UTF-8" standalone="yes"?>
<Relationships xmlns="http://schemas.openxmlformats.org/package/2006/relationships"><Relationship Id="rId2" Type="http://schemas.openxmlformats.org/officeDocument/2006/relationships/package" Target="../embeddings/Microsoft_Excel_Worksheet108.xlsx"/><Relationship Id="rId1" Type="http://schemas.openxmlformats.org/officeDocument/2006/relationships/themeOverride" Target="../theme/themeOverride109.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11.xml"/></Relationships>
</file>

<file path=ppt/charts/_rels/chart110.xml.rels><?xml version="1.0" encoding="UTF-8" standalone="yes"?>
<Relationships xmlns="http://schemas.openxmlformats.org/package/2006/relationships"><Relationship Id="rId2" Type="http://schemas.openxmlformats.org/officeDocument/2006/relationships/package" Target="../embeddings/Microsoft_Excel_Worksheet109.xlsx"/><Relationship Id="rId1" Type="http://schemas.openxmlformats.org/officeDocument/2006/relationships/themeOverride" Target="../theme/themeOverride110.xml"/></Relationships>
</file>

<file path=ppt/charts/_rels/chart111.xml.rels><?xml version="1.0" encoding="UTF-8" standalone="yes"?>
<Relationships xmlns="http://schemas.openxmlformats.org/package/2006/relationships"><Relationship Id="rId2" Type="http://schemas.openxmlformats.org/officeDocument/2006/relationships/package" Target="../embeddings/Microsoft_Excel_Worksheet110.xlsx"/><Relationship Id="rId1" Type="http://schemas.openxmlformats.org/officeDocument/2006/relationships/themeOverride" Target="../theme/themeOverride111.xml"/></Relationships>
</file>

<file path=ppt/charts/_rels/chart112.xml.rels><?xml version="1.0" encoding="UTF-8" standalone="yes"?>
<Relationships xmlns="http://schemas.openxmlformats.org/package/2006/relationships"><Relationship Id="rId2" Type="http://schemas.openxmlformats.org/officeDocument/2006/relationships/package" Target="../embeddings/Microsoft_Excel_Worksheet111.xlsx"/><Relationship Id="rId1" Type="http://schemas.openxmlformats.org/officeDocument/2006/relationships/themeOverride" Target="../theme/themeOverride112.xml"/></Relationships>
</file>

<file path=ppt/charts/_rels/chart113.xml.rels><?xml version="1.0" encoding="UTF-8" standalone="yes"?>
<Relationships xmlns="http://schemas.openxmlformats.org/package/2006/relationships"><Relationship Id="rId2" Type="http://schemas.openxmlformats.org/officeDocument/2006/relationships/package" Target="../embeddings/Microsoft_Excel_Worksheet112.xlsx"/><Relationship Id="rId1" Type="http://schemas.openxmlformats.org/officeDocument/2006/relationships/themeOverride" Target="../theme/themeOverride113.xml"/></Relationships>
</file>

<file path=ppt/charts/_rels/chart114.xml.rels><?xml version="1.0" encoding="UTF-8" standalone="yes"?>
<Relationships xmlns="http://schemas.openxmlformats.org/package/2006/relationships"><Relationship Id="rId2" Type="http://schemas.openxmlformats.org/officeDocument/2006/relationships/package" Target="../embeddings/Microsoft_Excel_Worksheet113.xlsx"/><Relationship Id="rId1" Type="http://schemas.openxmlformats.org/officeDocument/2006/relationships/themeOverride" Target="../theme/themeOverride114.xml"/></Relationships>
</file>

<file path=ppt/charts/_rels/chart115.xml.rels><?xml version="1.0" encoding="UTF-8" standalone="yes"?>
<Relationships xmlns="http://schemas.openxmlformats.org/package/2006/relationships"><Relationship Id="rId2" Type="http://schemas.openxmlformats.org/officeDocument/2006/relationships/package" Target="../embeddings/Microsoft_Excel_Worksheet114.xlsx"/><Relationship Id="rId1" Type="http://schemas.openxmlformats.org/officeDocument/2006/relationships/themeOverride" Target="../theme/themeOverride115.xml"/></Relationships>
</file>

<file path=ppt/charts/_rels/chart116.xml.rels><?xml version="1.0" encoding="UTF-8" standalone="yes"?>
<Relationships xmlns="http://schemas.openxmlformats.org/package/2006/relationships"><Relationship Id="rId2" Type="http://schemas.openxmlformats.org/officeDocument/2006/relationships/package" Target="../embeddings/Microsoft_Excel_Worksheet115.xlsx"/><Relationship Id="rId1" Type="http://schemas.openxmlformats.org/officeDocument/2006/relationships/themeOverride" Target="../theme/themeOverride116.xml"/></Relationships>
</file>

<file path=ppt/charts/_rels/chart117.xml.rels><?xml version="1.0" encoding="UTF-8" standalone="yes"?>
<Relationships xmlns="http://schemas.openxmlformats.org/package/2006/relationships"><Relationship Id="rId2" Type="http://schemas.openxmlformats.org/officeDocument/2006/relationships/package" Target="../embeddings/Microsoft_Excel_Worksheet116.xlsx"/><Relationship Id="rId1" Type="http://schemas.openxmlformats.org/officeDocument/2006/relationships/themeOverride" Target="../theme/themeOverride117.xml"/></Relationships>
</file>

<file path=ppt/charts/_rels/chart118.xml.rels><?xml version="1.0" encoding="UTF-8" standalone="yes"?>
<Relationships xmlns="http://schemas.openxmlformats.org/package/2006/relationships"><Relationship Id="rId2" Type="http://schemas.openxmlformats.org/officeDocument/2006/relationships/package" Target="../embeddings/Microsoft_Excel_Worksheet117.xlsx"/><Relationship Id="rId1" Type="http://schemas.openxmlformats.org/officeDocument/2006/relationships/themeOverride" Target="../theme/themeOverride118.xml"/></Relationships>
</file>

<file path=ppt/charts/_rels/chart119.xml.rels><?xml version="1.0" encoding="UTF-8" standalone="yes"?>
<Relationships xmlns="http://schemas.openxmlformats.org/package/2006/relationships"><Relationship Id="rId2" Type="http://schemas.openxmlformats.org/officeDocument/2006/relationships/package" Target="../embeddings/Microsoft_Excel_Worksheet118.xlsx"/><Relationship Id="rId1" Type="http://schemas.openxmlformats.org/officeDocument/2006/relationships/themeOverride" Target="../theme/themeOverride119.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2.xml"/></Relationships>
</file>

<file path=ppt/charts/_rels/chart120.xml.rels><?xml version="1.0" encoding="UTF-8" standalone="yes"?>
<Relationships xmlns="http://schemas.openxmlformats.org/package/2006/relationships"><Relationship Id="rId2" Type="http://schemas.openxmlformats.org/officeDocument/2006/relationships/package" Target="../embeddings/Microsoft_Excel_Worksheet119.xlsx"/><Relationship Id="rId1" Type="http://schemas.openxmlformats.org/officeDocument/2006/relationships/themeOverride" Target="../theme/themeOverride120.xml"/></Relationships>
</file>

<file path=ppt/charts/_rels/chart121.xml.rels><?xml version="1.0" encoding="UTF-8" standalone="yes"?>
<Relationships xmlns="http://schemas.openxmlformats.org/package/2006/relationships"><Relationship Id="rId2" Type="http://schemas.openxmlformats.org/officeDocument/2006/relationships/package" Target="../embeddings/Microsoft_Excel_Worksheet120.xlsx"/><Relationship Id="rId1" Type="http://schemas.openxmlformats.org/officeDocument/2006/relationships/themeOverride" Target="../theme/themeOverride121.xml"/></Relationships>
</file>

<file path=ppt/charts/_rels/chart122.xml.rels><?xml version="1.0" encoding="UTF-8" standalone="yes"?>
<Relationships xmlns="http://schemas.openxmlformats.org/package/2006/relationships"><Relationship Id="rId2" Type="http://schemas.openxmlformats.org/officeDocument/2006/relationships/package" Target="../embeddings/Microsoft_Excel_Worksheet121.xlsx"/><Relationship Id="rId1" Type="http://schemas.openxmlformats.org/officeDocument/2006/relationships/themeOverride" Target="../theme/themeOverride122.xml"/></Relationships>
</file>

<file path=ppt/charts/_rels/chart123.xml.rels><?xml version="1.0" encoding="UTF-8" standalone="yes"?>
<Relationships xmlns="http://schemas.openxmlformats.org/package/2006/relationships"><Relationship Id="rId2" Type="http://schemas.openxmlformats.org/officeDocument/2006/relationships/package" Target="../embeddings/Microsoft_Excel_Worksheet122.xlsx"/><Relationship Id="rId1" Type="http://schemas.openxmlformats.org/officeDocument/2006/relationships/themeOverride" Target="../theme/themeOverride123.xml"/></Relationships>
</file>

<file path=ppt/charts/_rels/chart124.xml.rels><?xml version="1.0" encoding="UTF-8" standalone="yes"?>
<Relationships xmlns="http://schemas.openxmlformats.org/package/2006/relationships"><Relationship Id="rId2" Type="http://schemas.openxmlformats.org/officeDocument/2006/relationships/package" Target="../embeddings/Microsoft_Excel_Worksheet123.xlsx"/><Relationship Id="rId1" Type="http://schemas.openxmlformats.org/officeDocument/2006/relationships/themeOverride" Target="../theme/themeOverride124.xml"/></Relationships>
</file>

<file path=ppt/charts/_rels/chart125.xml.rels><?xml version="1.0" encoding="UTF-8" standalone="yes"?>
<Relationships xmlns="http://schemas.openxmlformats.org/package/2006/relationships"><Relationship Id="rId2" Type="http://schemas.openxmlformats.org/officeDocument/2006/relationships/package" Target="../embeddings/Microsoft_Excel_Worksheet124.xlsx"/><Relationship Id="rId1" Type="http://schemas.openxmlformats.org/officeDocument/2006/relationships/themeOverride" Target="../theme/themeOverride125.xml"/></Relationships>
</file>

<file path=ppt/charts/_rels/chart126.xml.rels><?xml version="1.0" encoding="UTF-8" standalone="yes"?>
<Relationships xmlns="http://schemas.openxmlformats.org/package/2006/relationships"><Relationship Id="rId2" Type="http://schemas.openxmlformats.org/officeDocument/2006/relationships/package" Target="../embeddings/Microsoft_Excel_Worksheet125.xlsx"/><Relationship Id="rId1" Type="http://schemas.openxmlformats.org/officeDocument/2006/relationships/themeOverride" Target="../theme/themeOverride126.xml"/></Relationships>
</file>

<file path=ppt/charts/_rels/chart127.xml.rels><?xml version="1.0" encoding="UTF-8" standalone="yes"?>
<Relationships xmlns="http://schemas.openxmlformats.org/package/2006/relationships"><Relationship Id="rId2" Type="http://schemas.openxmlformats.org/officeDocument/2006/relationships/package" Target="../embeddings/Microsoft_Excel_Worksheet126.xlsx"/><Relationship Id="rId1" Type="http://schemas.openxmlformats.org/officeDocument/2006/relationships/themeOverride" Target="../theme/themeOverride127.xml"/></Relationships>
</file>

<file path=ppt/charts/_rels/chart128.xml.rels><?xml version="1.0" encoding="UTF-8" standalone="yes"?>
<Relationships xmlns="http://schemas.openxmlformats.org/package/2006/relationships"><Relationship Id="rId2" Type="http://schemas.openxmlformats.org/officeDocument/2006/relationships/package" Target="../embeddings/Microsoft_Excel_Worksheet127.xlsx"/><Relationship Id="rId1" Type="http://schemas.openxmlformats.org/officeDocument/2006/relationships/themeOverride" Target="../theme/themeOverride128.xml"/></Relationships>
</file>

<file path=ppt/charts/_rels/chart129.xml.rels><?xml version="1.0" encoding="UTF-8" standalone="yes"?>
<Relationships xmlns="http://schemas.openxmlformats.org/package/2006/relationships"><Relationship Id="rId2" Type="http://schemas.openxmlformats.org/officeDocument/2006/relationships/package" Target="../embeddings/Microsoft_Excel_Worksheet128.xlsx"/><Relationship Id="rId1" Type="http://schemas.openxmlformats.org/officeDocument/2006/relationships/themeOverride" Target="../theme/themeOverride129.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13.xml"/></Relationships>
</file>

<file path=ppt/charts/_rels/chart130.xml.rels><?xml version="1.0" encoding="UTF-8" standalone="yes"?>
<Relationships xmlns="http://schemas.openxmlformats.org/package/2006/relationships"><Relationship Id="rId2" Type="http://schemas.openxmlformats.org/officeDocument/2006/relationships/package" Target="../embeddings/Microsoft_Excel_Worksheet129.xlsx"/><Relationship Id="rId1" Type="http://schemas.openxmlformats.org/officeDocument/2006/relationships/themeOverride" Target="../theme/themeOverride130.xml"/></Relationships>
</file>

<file path=ppt/charts/_rels/chart131.xml.rels><?xml version="1.0" encoding="UTF-8" standalone="yes"?>
<Relationships xmlns="http://schemas.openxmlformats.org/package/2006/relationships"><Relationship Id="rId2" Type="http://schemas.openxmlformats.org/officeDocument/2006/relationships/package" Target="../embeddings/Microsoft_Excel_Worksheet130.xlsx"/><Relationship Id="rId1" Type="http://schemas.openxmlformats.org/officeDocument/2006/relationships/themeOverride" Target="../theme/themeOverride131.xml"/></Relationships>
</file>

<file path=ppt/charts/_rels/chart132.xml.rels><?xml version="1.0" encoding="UTF-8" standalone="yes"?>
<Relationships xmlns="http://schemas.openxmlformats.org/package/2006/relationships"><Relationship Id="rId2" Type="http://schemas.openxmlformats.org/officeDocument/2006/relationships/package" Target="../embeddings/Microsoft_Excel_Worksheet131.xlsx"/><Relationship Id="rId1" Type="http://schemas.openxmlformats.org/officeDocument/2006/relationships/themeOverride" Target="../theme/themeOverride132.xml"/></Relationships>
</file>

<file path=ppt/charts/_rels/chart133.xml.rels><?xml version="1.0" encoding="UTF-8" standalone="yes"?>
<Relationships xmlns="http://schemas.openxmlformats.org/package/2006/relationships"><Relationship Id="rId2" Type="http://schemas.openxmlformats.org/officeDocument/2006/relationships/package" Target="../embeddings/Microsoft_Excel_Worksheet132.xlsx"/><Relationship Id="rId1" Type="http://schemas.openxmlformats.org/officeDocument/2006/relationships/themeOverride" Target="../theme/themeOverride133.xml"/></Relationships>
</file>

<file path=ppt/charts/_rels/chart134.xml.rels><?xml version="1.0" encoding="UTF-8" standalone="yes"?>
<Relationships xmlns="http://schemas.openxmlformats.org/package/2006/relationships"><Relationship Id="rId2" Type="http://schemas.openxmlformats.org/officeDocument/2006/relationships/package" Target="../embeddings/Microsoft_Excel_Worksheet133.xlsx"/><Relationship Id="rId1" Type="http://schemas.openxmlformats.org/officeDocument/2006/relationships/themeOverride" Target="../theme/themeOverride134.xml"/></Relationships>
</file>

<file path=ppt/charts/_rels/chart135.xml.rels><?xml version="1.0" encoding="UTF-8" standalone="yes"?>
<Relationships xmlns="http://schemas.openxmlformats.org/package/2006/relationships"><Relationship Id="rId2" Type="http://schemas.openxmlformats.org/officeDocument/2006/relationships/package" Target="../embeddings/Microsoft_Excel_Worksheet134.xlsx"/><Relationship Id="rId1" Type="http://schemas.openxmlformats.org/officeDocument/2006/relationships/themeOverride" Target="../theme/themeOverride135.xml"/></Relationships>
</file>

<file path=ppt/charts/_rels/chart136.xml.rels><?xml version="1.0" encoding="UTF-8" standalone="yes"?>
<Relationships xmlns="http://schemas.openxmlformats.org/package/2006/relationships"><Relationship Id="rId2" Type="http://schemas.openxmlformats.org/officeDocument/2006/relationships/package" Target="../embeddings/Microsoft_Excel_Worksheet135.xlsx"/><Relationship Id="rId1" Type="http://schemas.openxmlformats.org/officeDocument/2006/relationships/themeOverride" Target="../theme/themeOverride136.xml"/></Relationships>
</file>

<file path=ppt/charts/_rels/chart137.xml.rels><?xml version="1.0" encoding="UTF-8" standalone="yes"?>
<Relationships xmlns="http://schemas.openxmlformats.org/package/2006/relationships"><Relationship Id="rId2" Type="http://schemas.openxmlformats.org/officeDocument/2006/relationships/package" Target="../embeddings/Microsoft_Excel_Worksheet136.xlsx"/><Relationship Id="rId1" Type="http://schemas.openxmlformats.org/officeDocument/2006/relationships/themeOverride" Target="../theme/themeOverride137.xml"/></Relationships>
</file>

<file path=ppt/charts/_rels/chart138.xml.rels><?xml version="1.0" encoding="UTF-8" standalone="yes"?>
<Relationships xmlns="http://schemas.openxmlformats.org/package/2006/relationships"><Relationship Id="rId2" Type="http://schemas.openxmlformats.org/officeDocument/2006/relationships/package" Target="../embeddings/Microsoft_Excel_Worksheet137.xlsx"/><Relationship Id="rId1" Type="http://schemas.openxmlformats.org/officeDocument/2006/relationships/themeOverride" Target="../theme/themeOverride138.xml"/></Relationships>
</file>

<file path=ppt/charts/_rels/chart139.xml.rels><?xml version="1.0" encoding="UTF-8" standalone="yes"?>
<Relationships xmlns="http://schemas.openxmlformats.org/package/2006/relationships"><Relationship Id="rId2" Type="http://schemas.openxmlformats.org/officeDocument/2006/relationships/package" Target="../embeddings/Microsoft_Excel_Worksheet138.xlsx"/><Relationship Id="rId1" Type="http://schemas.openxmlformats.org/officeDocument/2006/relationships/themeOverride" Target="../theme/themeOverride139.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14.xml"/></Relationships>
</file>

<file path=ppt/charts/_rels/chart140.xml.rels><?xml version="1.0" encoding="UTF-8" standalone="yes"?>
<Relationships xmlns="http://schemas.openxmlformats.org/package/2006/relationships"><Relationship Id="rId2" Type="http://schemas.openxmlformats.org/officeDocument/2006/relationships/package" Target="../embeddings/Microsoft_Excel_Worksheet139.xlsx"/><Relationship Id="rId1" Type="http://schemas.openxmlformats.org/officeDocument/2006/relationships/themeOverride" Target="../theme/themeOverride140.xml"/></Relationships>
</file>

<file path=ppt/charts/_rels/chart141.xml.rels><?xml version="1.0" encoding="UTF-8" standalone="yes"?>
<Relationships xmlns="http://schemas.openxmlformats.org/package/2006/relationships"><Relationship Id="rId3" Type="http://schemas.openxmlformats.org/officeDocument/2006/relationships/package" Target="../embeddings/Microsoft_Excel_Worksheet140.xlsx"/><Relationship Id="rId2" Type="http://schemas.microsoft.com/office/2011/relationships/chartColorStyle" Target="colors1.xml"/><Relationship Id="rId1" Type="http://schemas.microsoft.com/office/2011/relationships/chartStyle" Target="style1.xml"/></Relationships>
</file>

<file path=ppt/charts/_rels/chart142.xml.rels><?xml version="1.0" encoding="UTF-8" standalone="yes"?>
<Relationships xmlns="http://schemas.openxmlformats.org/package/2006/relationships"><Relationship Id="rId3" Type="http://schemas.openxmlformats.org/officeDocument/2006/relationships/package" Target="../embeddings/Microsoft_Excel_Worksheet141.xlsx"/><Relationship Id="rId2" Type="http://schemas.microsoft.com/office/2011/relationships/chartColorStyle" Target="colors2.xml"/><Relationship Id="rId1" Type="http://schemas.microsoft.com/office/2011/relationships/chartStyle" Target="style2.xml"/></Relationships>
</file>

<file path=ppt/charts/_rels/chart143.xml.rels><?xml version="1.0" encoding="UTF-8" standalone="yes"?>
<Relationships xmlns="http://schemas.openxmlformats.org/package/2006/relationships"><Relationship Id="rId2" Type="http://schemas.openxmlformats.org/officeDocument/2006/relationships/package" Target="../embeddings/Microsoft_Excel_Worksheet142.xlsx"/><Relationship Id="rId1" Type="http://schemas.openxmlformats.org/officeDocument/2006/relationships/themeOverride" Target="../theme/themeOverride141.xml"/></Relationships>
</file>

<file path=ppt/charts/_rels/chart144.xml.rels><?xml version="1.0" encoding="UTF-8" standalone="yes"?>
<Relationships xmlns="http://schemas.openxmlformats.org/package/2006/relationships"><Relationship Id="rId2" Type="http://schemas.openxmlformats.org/officeDocument/2006/relationships/package" Target="../embeddings/Microsoft_Excel_Worksheet143.xlsx"/><Relationship Id="rId1" Type="http://schemas.openxmlformats.org/officeDocument/2006/relationships/themeOverride" Target="../theme/themeOverride142.xml"/></Relationships>
</file>

<file path=ppt/charts/_rels/chart145.xml.rels><?xml version="1.0" encoding="UTF-8" standalone="yes"?>
<Relationships xmlns="http://schemas.openxmlformats.org/package/2006/relationships"><Relationship Id="rId2" Type="http://schemas.openxmlformats.org/officeDocument/2006/relationships/package" Target="../embeddings/Microsoft_Excel_Worksheet144.xlsx"/><Relationship Id="rId1" Type="http://schemas.openxmlformats.org/officeDocument/2006/relationships/themeOverride" Target="../theme/themeOverride143.xml"/></Relationships>
</file>

<file path=ppt/charts/_rels/chart146.xml.rels><?xml version="1.0" encoding="UTF-8" standalone="yes"?>
<Relationships xmlns="http://schemas.openxmlformats.org/package/2006/relationships"><Relationship Id="rId2" Type="http://schemas.openxmlformats.org/officeDocument/2006/relationships/package" Target="../embeddings/Microsoft_Excel_Worksheet145.xlsx"/><Relationship Id="rId1" Type="http://schemas.openxmlformats.org/officeDocument/2006/relationships/themeOverride" Target="../theme/themeOverride144.xml"/></Relationships>
</file>

<file path=ppt/charts/_rels/chart147.xml.rels><?xml version="1.0" encoding="UTF-8" standalone="yes"?>
<Relationships xmlns="http://schemas.openxmlformats.org/package/2006/relationships"><Relationship Id="rId3" Type="http://schemas.openxmlformats.org/officeDocument/2006/relationships/package" Target="../embeddings/Microsoft_Excel_Worksheet146.xlsx"/><Relationship Id="rId2" Type="http://schemas.microsoft.com/office/2011/relationships/chartColorStyle" Target="colors3.xml"/><Relationship Id="rId1" Type="http://schemas.microsoft.com/office/2011/relationships/chartStyle" Target="style3.xml"/></Relationships>
</file>

<file path=ppt/charts/_rels/chart148.xml.rels><?xml version="1.0" encoding="UTF-8" standalone="yes"?>
<Relationships xmlns="http://schemas.openxmlformats.org/package/2006/relationships"><Relationship Id="rId3" Type="http://schemas.openxmlformats.org/officeDocument/2006/relationships/package" Target="../embeddings/Microsoft_Excel_Worksheet147.xlsx"/><Relationship Id="rId2" Type="http://schemas.microsoft.com/office/2011/relationships/chartColorStyle" Target="colors4.xml"/><Relationship Id="rId1" Type="http://schemas.microsoft.com/office/2011/relationships/chartStyle" Target="style4.xml"/></Relationships>
</file>

<file path=ppt/charts/_rels/chart149.xml.rels><?xml version="1.0" encoding="UTF-8" standalone="yes"?>
<Relationships xmlns="http://schemas.openxmlformats.org/package/2006/relationships"><Relationship Id="rId2" Type="http://schemas.openxmlformats.org/officeDocument/2006/relationships/package" Target="../embeddings/Microsoft_Excel_Worksheet148.xlsx"/><Relationship Id="rId1" Type="http://schemas.openxmlformats.org/officeDocument/2006/relationships/themeOverride" Target="../theme/themeOverride145.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15.xml"/></Relationships>
</file>

<file path=ppt/charts/_rels/chart150.xml.rels><?xml version="1.0" encoding="UTF-8" standalone="yes"?>
<Relationships xmlns="http://schemas.openxmlformats.org/package/2006/relationships"><Relationship Id="rId2" Type="http://schemas.openxmlformats.org/officeDocument/2006/relationships/package" Target="../embeddings/Microsoft_Excel_Worksheet149.xlsx"/><Relationship Id="rId1" Type="http://schemas.openxmlformats.org/officeDocument/2006/relationships/themeOverride" Target="../theme/themeOverride146.xml"/></Relationships>
</file>

<file path=ppt/charts/_rels/chart151.xml.rels><?xml version="1.0" encoding="UTF-8" standalone="yes"?>
<Relationships xmlns="http://schemas.openxmlformats.org/package/2006/relationships"><Relationship Id="rId2" Type="http://schemas.openxmlformats.org/officeDocument/2006/relationships/package" Target="../embeddings/Microsoft_Excel_Worksheet150.xlsx"/><Relationship Id="rId1" Type="http://schemas.openxmlformats.org/officeDocument/2006/relationships/themeOverride" Target="../theme/themeOverride147.xml"/></Relationships>
</file>

<file path=ppt/charts/_rels/chart152.xml.rels><?xml version="1.0" encoding="UTF-8" standalone="yes"?>
<Relationships xmlns="http://schemas.openxmlformats.org/package/2006/relationships"><Relationship Id="rId2" Type="http://schemas.openxmlformats.org/officeDocument/2006/relationships/package" Target="../embeddings/Microsoft_Excel_Worksheet151.xlsx"/><Relationship Id="rId1" Type="http://schemas.openxmlformats.org/officeDocument/2006/relationships/themeOverride" Target="../theme/themeOverride148.xml"/></Relationships>
</file>

<file path=ppt/charts/_rels/chart153.xml.rels><?xml version="1.0" encoding="UTF-8" standalone="yes"?>
<Relationships xmlns="http://schemas.openxmlformats.org/package/2006/relationships"><Relationship Id="rId3" Type="http://schemas.openxmlformats.org/officeDocument/2006/relationships/package" Target="../embeddings/Microsoft_Excel_Worksheet152.xlsx"/><Relationship Id="rId2" Type="http://schemas.microsoft.com/office/2011/relationships/chartColorStyle" Target="colors5.xml"/><Relationship Id="rId1" Type="http://schemas.microsoft.com/office/2011/relationships/chartStyle" Target="style5.xml"/></Relationships>
</file>

<file path=ppt/charts/_rels/chart154.xml.rels><?xml version="1.0" encoding="UTF-8" standalone="yes"?>
<Relationships xmlns="http://schemas.openxmlformats.org/package/2006/relationships"><Relationship Id="rId3" Type="http://schemas.openxmlformats.org/officeDocument/2006/relationships/package" Target="../embeddings/Microsoft_Excel_Worksheet153.xlsx"/><Relationship Id="rId2" Type="http://schemas.microsoft.com/office/2011/relationships/chartColorStyle" Target="colors6.xml"/><Relationship Id="rId1" Type="http://schemas.microsoft.com/office/2011/relationships/chartStyle" Target="style6.xml"/></Relationships>
</file>

<file path=ppt/charts/_rels/chart155.xml.rels><?xml version="1.0" encoding="UTF-8" standalone="yes"?>
<Relationships xmlns="http://schemas.openxmlformats.org/package/2006/relationships"><Relationship Id="rId2" Type="http://schemas.openxmlformats.org/officeDocument/2006/relationships/package" Target="../embeddings/Microsoft_Excel_Worksheet154.xlsx"/><Relationship Id="rId1" Type="http://schemas.openxmlformats.org/officeDocument/2006/relationships/themeOverride" Target="../theme/themeOverride149.xml"/></Relationships>
</file>

<file path=ppt/charts/_rels/chart156.xml.rels><?xml version="1.0" encoding="UTF-8" standalone="yes"?>
<Relationships xmlns="http://schemas.openxmlformats.org/package/2006/relationships"><Relationship Id="rId2" Type="http://schemas.openxmlformats.org/officeDocument/2006/relationships/package" Target="../embeddings/Microsoft_Excel_Worksheet155.xlsx"/><Relationship Id="rId1" Type="http://schemas.openxmlformats.org/officeDocument/2006/relationships/themeOverride" Target="../theme/themeOverride150.xml"/></Relationships>
</file>

<file path=ppt/charts/_rels/chart157.xml.rels><?xml version="1.0" encoding="UTF-8" standalone="yes"?>
<Relationships xmlns="http://schemas.openxmlformats.org/package/2006/relationships"><Relationship Id="rId2" Type="http://schemas.openxmlformats.org/officeDocument/2006/relationships/package" Target="../embeddings/Microsoft_Excel_Worksheet156.xlsx"/><Relationship Id="rId1" Type="http://schemas.openxmlformats.org/officeDocument/2006/relationships/themeOverride" Target="../theme/themeOverride151.xml"/></Relationships>
</file>

<file path=ppt/charts/_rels/chart158.xml.rels><?xml version="1.0" encoding="UTF-8" standalone="yes"?>
<Relationships xmlns="http://schemas.openxmlformats.org/package/2006/relationships"><Relationship Id="rId2" Type="http://schemas.openxmlformats.org/officeDocument/2006/relationships/package" Target="../embeddings/Microsoft_Excel_Worksheet157.xlsx"/><Relationship Id="rId1" Type="http://schemas.openxmlformats.org/officeDocument/2006/relationships/themeOverride" Target="../theme/themeOverride152.xml"/></Relationships>
</file>

<file path=ppt/charts/_rels/chart159.xml.rels><?xml version="1.0" encoding="UTF-8" standalone="yes"?>
<Relationships xmlns="http://schemas.openxmlformats.org/package/2006/relationships"><Relationship Id="rId3" Type="http://schemas.openxmlformats.org/officeDocument/2006/relationships/package" Target="../embeddings/Microsoft_Excel_Worksheet158.xlsx"/><Relationship Id="rId2" Type="http://schemas.microsoft.com/office/2011/relationships/chartColorStyle" Target="colors7.xml"/><Relationship Id="rId1" Type="http://schemas.microsoft.com/office/2011/relationships/chartStyle" Target="style7.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16.xml"/></Relationships>
</file>

<file path=ppt/charts/_rels/chart160.xml.rels><?xml version="1.0" encoding="UTF-8" standalone="yes"?>
<Relationships xmlns="http://schemas.openxmlformats.org/package/2006/relationships"><Relationship Id="rId3" Type="http://schemas.openxmlformats.org/officeDocument/2006/relationships/package" Target="../embeddings/Microsoft_Excel_Worksheet159.xlsx"/><Relationship Id="rId2" Type="http://schemas.microsoft.com/office/2011/relationships/chartColorStyle" Target="colors8.xml"/><Relationship Id="rId1" Type="http://schemas.microsoft.com/office/2011/relationships/chartStyle" Target="style8.xml"/></Relationships>
</file>

<file path=ppt/charts/_rels/chart161.xml.rels><?xml version="1.0" encoding="UTF-8" standalone="yes"?>
<Relationships xmlns="http://schemas.openxmlformats.org/package/2006/relationships"><Relationship Id="rId2" Type="http://schemas.openxmlformats.org/officeDocument/2006/relationships/package" Target="../embeddings/Microsoft_Excel_Worksheet160.xlsx"/><Relationship Id="rId1" Type="http://schemas.openxmlformats.org/officeDocument/2006/relationships/themeOverride" Target="../theme/themeOverride153.xml"/></Relationships>
</file>

<file path=ppt/charts/_rels/chart162.xml.rels><?xml version="1.0" encoding="UTF-8" standalone="yes"?>
<Relationships xmlns="http://schemas.openxmlformats.org/package/2006/relationships"><Relationship Id="rId2" Type="http://schemas.openxmlformats.org/officeDocument/2006/relationships/package" Target="../embeddings/Microsoft_Excel_Worksheet161.xlsx"/><Relationship Id="rId1" Type="http://schemas.openxmlformats.org/officeDocument/2006/relationships/themeOverride" Target="../theme/themeOverride154.xml"/></Relationships>
</file>

<file path=ppt/charts/_rels/chart163.xml.rels><?xml version="1.0" encoding="UTF-8" standalone="yes"?>
<Relationships xmlns="http://schemas.openxmlformats.org/package/2006/relationships"><Relationship Id="rId2" Type="http://schemas.openxmlformats.org/officeDocument/2006/relationships/package" Target="../embeddings/Microsoft_Excel_Worksheet162.xlsx"/><Relationship Id="rId1" Type="http://schemas.openxmlformats.org/officeDocument/2006/relationships/themeOverride" Target="../theme/themeOverride155.xml"/></Relationships>
</file>

<file path=ppt/charts/_rels/chart164.xml.rels><?xml version="1.0" encoding="UTF-8" standalone="yes"?>
<Relationships xmlns="http://schemas.openxmlformats.org/package/2006/relationships"><Relationship Id="rId2" Type="http://schemas.openxmlformats.org/officeDocument/2006/relationships/package" Target="../embeddings/Microsoft_Excel_Worksheet163.xlsx"/><Relationship Id="rId1" Type="http://schemas.openxmlformats.org/officeDocument/2006/relationships/themeOverride" Target="../theme/themeOverride156.xml"/></Relationships>
</file>

<file path=ppt/charts/_rels/chart165.xml.rels><?xml version="1.0" encoding="UTF-8" standalone="yes"?>
<Relationships xmlns="http://schemas.openxmlformats.org/package/2006/relationships"><Relationship Id="rId3" Type="http://schemas.openxmlformats.org/officeDocument/2006/relationships/package" Target="../embeddings/Microsoft_Excel_Worksheet164.xlsx"/><Relationship Id="rId2" Type="http://schemas.microsoft.com/office/2011/relationships/chartColorStyle" Target="colors9.xml"/><Relationship Id="rId1" Type="http://schemas.microsoft.com/office/2011/relationships/chartStyle" Target="style9.xml"/></Relationships>
</file>

<file path=ppt/charts/_rels/chart166.xml.rels><?xml version="1.0" encoding="UTF-8" standalone="yes"?>
<Relationships xmlns="http://schemas.openxmlformats.org/package/2006/relationships"><Relationship Id="rId3" Type="http://schemas.openxmlformats.org/officeDocument/2006/relationships/package" Target="../embeddings/Microsoft_Excel_Worksheet165.xlsx"/><Relationship Id="rId2" Type="http://schemas.microsoft.com/office/2011/relationships/chartColorStyle" Target="colors10.xml"/><Relationship Id="rId1" Type="http://schemas.microsoft.com/office/2011/relationships/chartStyle" Target="style10.xml"/></Relationships>
</file>

<file path=ppt/charts/_rels/chart167.xml.rels><?xml version="1.0" encoding="UTF-8" standalone="yes"?>
<Relationships xmlns="http://schemas.openxmlformats.org/package/2006/relationships"><Relationship Id="rId2" Type="http://schemas.openxmlformats.org/officeDocument/2006/relationships/package" Target="../embeddings/Microsoft_Excel_Worksheet166.xlsx"/><Relationship Id="rId1" Type="http://schemas.openxmlformats.org/officeDocument/2006/relationships/themeOverride" Target="../theme/themeOverride157.xml"/></Relationships>
</file>

<file path=ppt/charts/_rels/chart168.xml.rels><?xml version="1.0" encoding="UTF-8" standalone="yes"?>
<Relationships xmlns="http://schemas.openxmlformats.org/package/2006/relationships"><Relationship Id="rId2" Type="http://schemas.openxmlformats.org/officeDocument/2006/relationships/package" Target="../embeddings/Microsoft_Excel_Worksheet167.xlsx"/><Relationship Id="rId1" Type="http://schemas.openxmlformats.org/officeDocument/2006/relationships/themeOverride" Target="../theme/themeOverride158.xml"/></Relationships>
</file>

<file path=ppt/charts/_rels/chart169.xml.rels><?xml version="1.0" encoding="UTF-8" standalone="yes"?>
<Relationships xmlns="http://schemas.openxmlformats.org/package/2006/relationships"><Relationship Id="rId2" Type="http://schemas.openxmlformats.org/officeDocument/2006/relationships/package" Target="../embeddings/Microsoft_Excel_Worksheet168.xlsx"/><Relationship Id="rId1" Type="http://schemas.openxmlformats.org/officeDocument/2006/relationships/themeOverride" Target="../theme/themeOverride159.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17.xml"/></Relationships>
</file>

<file path=ppt/charts/_rels/chart170.xml.rels><?xml version="1.0" encoding="UTF-8" standalone="yes"?>
<Relationships xmlns="http://schemas.openxmlformats.org/package/2006/relationships"><Relationship Id="rId2" Type="http://schemas.openxmlformats.org/officeDocument/2006/relationships/package" Target="../embeddings/Microsoft_Excel_Worksheet169.xlsx"/><Relationship Id="rId1" Type="http://schemas.openxmlformats.org/officeDocument/2006/relationships/themeOverride" Target="../theme/themeOverride160.xml"/></Relationships>
</file>

<file path=ppt/charts/_rels/chart171.xml.rels><?xml version="1.0" encoding="UTF-8" standalone="yes"?>
<Relationships xmlns="http://schemas.openxmlformats.org/package/2006/relationships"><Relationship Id="rId3" Type="http://schemas.openxmlformats.org/officeDocument/2006/relationships/package" Target="../embeddings/Microsoft_Excel_Worksheet170.xlsx"/><Relationship Id="rId2" Type="http://schemas.microsoft.com/office/2011/relationships/chartColorStyle" Target="colors11.xml"/><Relationship Id="rId1" Type="http://schemas.microsoft.com/office/2011/relationships/chartStyle" Target="style11.xml"/></Relationships>
</file>

<file path=ppt/charts/_rels/chart172.xml.rels><?xml version="1.0" encoding="UTF-8" standalone="yes"?>
<Relationships xmlns="http://schemas.openxmlformats.org/package/2006/relationships"><Relationship Id="rId3" Type="http://schemas.openxmlformats.org/officeDocument/2006/relationships/package" Target="../embeddings/Microsoft_Excel_Worksheet171.xlsx"/><Relationship Id="rId2" Type="http://schemas.microsoft.com/office/2011/relationships/chartColorStyle" Target="colors12.xml"/><Relationship Id="rId1" Type="http://schemas.microsoft.com/office/2011/relationships/chartStyle" Target="style12.xml"/></Relationships>
</file>

<file path=ppt/charts/_rels/chart173.xml.rels><?xml version="1.0" encoding="UTF-8" standalone="yes"?>
<Relationships xmlns="http://schemas.openxmlformats.org/package/2006/relationships"><Relationship Id="rId2" Type="http://schemas.openxmlformats.org/officeDocument/2006/relationships/package" Target="../embeddings/Microsoft_Excel_Worksheet172.xlsx"/><Relationship Id="rId1" Type="http://schemas.openxmlformats.org/officeDocument/2006/relationships/themeOverride" Target="../theme/themeOverride161.xml"/></Relationships>
</file>

<file path=ppt/charts/_rels/chart174.xml.rels><?xml version="1.0" encoding="UTF-8" standalone="yes"?>
<Relationships xmlns="http://schemas.openxmlformats.org/package/2006/relationships"><Relationship Id="rId2" Type="http://schemas.openxmlformats.org/officeDocument/2006/relationships/package" Target="../embeddings/Microsoft_Excel_Worksheet173.xlsx"/><Relationship Id="rId1" Type="http://schemas.openxmlformats.org/officeDocument/2006/relationships/themeOverride" Target="../theme/themeOverride162.xml"/></Relationships>
</file>

<file path=ppt/charts/_rels/chart175.xml.rels><?xml version="1.0" encoding="UTF-8" standalone="yes"?>
<Relationships xmlns="http://schemas.openxmlformats.org/package/2006/relationships"><Relationship Id="rId2" Type="http://schemas.openxmlformats.org/officeDocument/2006/relationships/package" Target="../embeddings/Microsoft_Excel_Worksheet174.xlsx"/><Relationship Id="rId1" Type="http://schemas.openxmlformats.org/officeDocument/2006/relationships/themeOverride" Target="../theme/themeOverride163.xml"/></Relationships>
</file>

<file path=ppt/charts/_rels/chart176.xml.rels><?xml version="1.0" encoding="UTF-8" standalone="yes"?>
<Relationships xmlns="http://schemas.openxmlformats.org/package/2006/relationships"><Relationship Id="rId2" Type="http://schemas.openxmlformats.org/officeDocument/2006/relationships/package" Target="../embeddings/Microsoft_Excel_Worksheet175.xlsx"/><Relationship Id="rId1" Type="http://schemas.openxmlformats.org/officeDocument/2006/relationships/themeOverride" Target="../theme/themeOverride164.xml"/></Relationships>
</file>

<file path=ppt/charts/_rels/chart177.xml.rels><?xml version="1.0" encoding="UTF-8" standalone="yes"?>
<Relationships xmlns="http://schemas.openxmlformats.org/package/2006/relationships"><Relationship Id="rId3" Type="http://schemas.openxmlformats.org/officeDocument/2006/relationships/package" Target="../embeddings/Microsoft_Excel_Worksheet176.xlsx"/><Relationship Id="rId2" Type="http://schemas.microsoft.com/office/2011/relationships/chartColorStyle" Target="colors13.xml"/><Relationship Id="rId1" Type="http://schemas.microsoft.com/office/2011/relationships/chartStyle" Target="style13.xml"/></Relationships>
</file>

<file path=ppt/charts/_rels/chart178.xml.rels><?xml version="1.0" encoding="UTF-8" standalone="yes"?>
<Relationships xmlns="http://schemas.openxmlformats.org/package/2006/relationships"><Relationship Id="rId3" Type="http://schemas.openxmlformats.org/officeDocument/2006/relationships/package" Target="../embeddings/Microsoft_Excel_Worksheet177.xlsx"/><Relationship Id="rId2" Type="http://schemas.microsoft.com/office/2011/relationships/chartColorStyle" Target="colors14.xml"/><Relationship Id="rId1" Type="http://schemas.microsoft.com/office/2011/relationships/chartStyle" Target="style14.xml"/></Relationships>
</file>

<file path=ppt/charts/_rels/chart179.xml.rels><?xml version="1.0" encoding="UTF-8" standalone="yes"?>
<Relationships xmlns="http://schemas.openxmlformats.org/package/2006/relationships"><Relationship Id="rId2" Type="http://schemas.openxmlformats.org/officeDocument/2006/relationships/package" Target="../embeddings/Microsoft_Excel_Worksheet178.xlsx"/><Relationship Id="rId1" Type="http://schemas.openxmlformats.org/officeDocument/2006/relationships/themeOverride" Target="../theme/themeOverride16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18.xml"/></Relationships>
</file>

<file path=ppt/charts/_rels/chart180.xml.rels><?xml version="1.0" encoding="UTF-8" standalone="yes"?>
<Relationships xmlns="http://schemas.openxmlformats.org/package/2006/relationships"><Relationship Id="rId2" Type="http://schemas.openxmlformats.org/officeDocument/2006/relationships/package" Target="../embeddings/Microsoft_Excel_Worksheet179.xlsx"/><Relationship Id="rId1" Type="http://schemas.openxmlformats.org/officeDocument/2006/relationships/themeOverride" Target="../theme/themeOverride166.xml"/></Relationships>
</file>

<file path=ppt/charts/_rels/chart181.xml.rels><?xml version="1.0" encoding="UTF-8" standalone="yes"?>
<Relationships xmlns="http://schemas.openxmlformats.org/package/2006/relationships"><Relationship Id="rId2" Type="http://schemas.openxmlformats.org/officeDocument/2006/relationships/package" Target="../embeddings/Microsoft_Excel_Worksheet180.xlsx"/><Relationship Id="rId1" Type="http://schemas.openxmlformats.org/officeDocument/2006/relationships/themeOverride" Target="../theme/themeOverride167.xml"/></Relationships>
</file>

<file path=ppt/charts/_rels/chart182.xml.rels><?xml version="1.0" encoding="UTF-8" standalone="yes"?>
<Relationships xmlns="http://schemas.openxmlformats.org/package/2006/relationships"><Relationship Id="rId2" Type="http://schemas.openxmlformats.org/officeDocument/2006/relationships/package" Target="../embeddings/Microsoft_Excel_Worksheet181.xlsx"/><Relationship Id="rId1" Type="http://schemas.openxmlformats.org/officeDocument/2006/relationships/themeOverride" Target="../theme/themeOverride168.xml"/></Relationships>
</file>

<file path=ppt/charts/_rels/chart183.xml.rels><?xml version="1.0" encoding="UTF-8" standalone="yes"?>
<Relationships xmlns="http://schemas.openxmlformats.org/package/2006/relationships"><Relationship Id="rId3" Type="http://schemas.openxmlformats.org/officeDocument/2006/relationships/package" Target="../embeddings/Microsoft_Excel_Worksheet182.xlsx"/><Relationship Id="rId2" Type="http://schemas.microsoft.com/office/2011/relationships/chartColorStyle" Target="colors15.xml"/><Relationship Id="rId1" Type="http://schemas.microsoft.com/office/2011/relationships/chartStyle" Target="style15.xml"/></Relationships>
</file>

<file path=ppt/charts/_rels/chart184.xml.rels><?xml version="1.0" encoding="UTF-8" standalone="yes"?>
<Relationships xmlns="http://schemas.openxmlformats.org/package/2006/relationships"><Relationship Id="rId3" Type="http://schemas.openxmlformats.org/officeDocument/2006/relationships/package" Target="../embeddings/Microsoft_Excel_Worksheet183.xlsx"/><Relationship Id="rId2" Type="http://schemas.microsoft.com/office/2011/relationships/chartColorStyle" Target="colors16.xml"/><Relationship Id="rId1" Type="http://schemas.microsoft.com/office/2011/relationships/chartStyle" Target="style16.xml"/></Relationships>
</file>

<file path=ppt/charts/_rels/chart185.xml.rels><?xml version="1.0" encoding="UTF-8" standalone="yes"?>
<Relationships xmlns="http://schemas.openxmlformats.org/package/2006/relationships"><Relationship Id="rId2" Type="http://schemas.openxmlformats.org/officeDocument/2006/relationships/package" Target="../embeddings/Microsoft_Excel_Worksheet184.xlsx"/><Relationship Id="rId1" Type="http://schemas.openxmlformats.org/officeDocument/2006/relationships/themeOverride" Target="../theme/themeOverride169.xml"/></Relationships>
</file>

<file path=ppt/charts/_rels/chart186.xml.rels><?xml version="1.0" encoding="UTF-8" standalone="yes"?>
<Relationships xmlns="http://schemas.openxmlformats.org/package/2006/relationships"><Relationship Id="rId2" Type="http://schemas.openxmlformats.org/officeDocument/2006/relationships/package" Target="../embeddings/Microsoft_Excel_Worksheet185.xlsx"/><Relationship Id="rId1" Type="http://schemas.openxmlformats.org/officeDocument/2006/relationships/themeOverride" Target="../theme/themeOverride170.xml"/></Relationships>
</file>

<file path=ppt/charts/_rels/chart187.xml.rels><?xml version="1.0" encoding="UTF-8" standalone="yes"?>
<Relationships xmlns="http://schemas.openxmlformats.org/package/2006/relationships"><Relationship Id="rId2" Type="http://schemas.openxmlformats.org/officeDocument/2006/relationships/package" Target="../embeddings/Microsoft_Excel_Worksheet186.xlsx"/><Relationship Id="rId1" Type="http://schemas.openxmlformats.org/officeDocument/2006/relationships/themeOverride" Target="../theme/themeOverride171.xml"/></Relationships>
</file>

<file path=ppt/charts/_rels/chart188.xml.rels><?xml version="1.0" encoding="UTF-8" standalone="yes"?>
<Relationships xmlns="http://schemas.openxmlformats.org/package/2006/relationships"><Relationship Id="rId2" Type="http://schemas.openxmlformats.org/officeDocument/2006/relationships/package" Target="../embeddings/Microsoft_Excel_Worksheet187.xlsx"/><Relationship Id="rId1" Type="http://schemas.openxmlformats.org/officeDocument/2006/relationships/themeOverride" Target="../theme/themeOverride172.xml"/></Relationships>
</file>

<file path=ppt/charts/_rels/chart189.xml.rels><?xml version="1.0" encoding="UTF-8" standalone="yes"?>
<Relationships xmlns="http://schemas.openxmlformats.org/package/2006/relationships"><Relationship Id="rId3" Type="http://schemas.openxmlformats.org/officeDocument/2006/relationships/package" Target="../embeddings/Microsoft_Excel_Worksheet188.xlsx"/><Relationship Id="rId2" Type="http://schemas.microsoft.com/office/2011/relationships/chartColorStyle" Target="colors17.xml"/><Relationship Id="rId1" Type="http://schemas.microsoft.com/office/2011/relationships/chartStyle" Target="style17.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19.xml"/></Relationships>
</file>

<file path=ppt/charts/_rels/chart190.xml.rels><?xml version="1.0" encoding="UTF-8" standalone="yes"?>
<Relationships xmlns="http://schemas.openxmlformats.org/package/2006/relationships"><Relationship Id="rId3" Type="http://schemas.openxmlformats.org/officeDocument/2006/relationships/package" Target="../embeddings/Microsoft_Excel_Worksheet189.xlsx"/><Relationship Id="rId2" Type="http://schemas.microsoft.com/office/2011/relationships/chartColorStyle" Target="colors18.xml"/><Relationship Id="rId1" Type="http://schemas.microsoft.com/office/2011/relationships/chartStyle" Target="style18.xml"/></Relationships>
</file>

<file path=ppt/charts/_rels/chart191.xml.rels><?xml version="1.0" encoding="UTF-8" standalone="yes"?>
<Relationships xmlns="http://schemas.openxmlformats.org/package/2006/relationships"><Relationship Id="rId2" Type="http://schemas.openxmlformats.org/officeDocument/2006/relationships/package" Target="../embeddings/Microsoft_Excel_Worksheet190.xlsx"/><Relationship Id="rId1" Type="http://schemas.openxmlformats.org/officeDocument/2006/relationships/themeOverride" Target="../theme/themeOverride173.xml"/></Relationships>
</file>

<file path=ppt/charts/_rels/chart192.xml.rels><?xml version="1.0" encoding="UTF-8" standalone="yes"?>
<Relationships xmlns="http://schemas.openxmlformats.org/package/2006/relationships"><Relationship Id="rId2" Type="http://schemas.openxmlformats.org/officeDocument/2006/relationships/package" Target="../embeddings/Microsoft_Excel_Worksheet191.xlsx"/><Relationship Id="rId1" Type="http://schemas.openxmlformats.org/officeDocument/2006/relationships/themeOverride" Target="../theme/themeOverride174.xml"/></Relationships>
</file>

<file path=ppt/charts/_rels/chart193.xml.rels><?xml version="1.0" encoding="UTF-8" standalone="yes"?>
<Relationships xmlns="http://schemas.openxmlformats.org/package/2006/relationships"><Relationship Id="rId2" Type="http://schemas.openxmlformats.org/officeDocument/2006/relationships/package" Target="../embeddings/Microsoft_Excel_Worksheet192.xlsx"/><Relationship Id="rId1" Type="http://schemas.openxmlformats.org/officeDocument/2006/relationships/themeOverride" Target="../theme/themeOverride175.xml"/></Relationships>
</file>

<file path=ppt/charts/_rels/chart194.xml.rels><?xml version="1.0" encoding="UTF-8" standalone="yes"?>
<Relationships xmlns="http://schemas.openxmlformats.org/package/2006/relationships"><Relationship Id="rId2" Type="http://schemas.openxmlformats.org/officeDocument/2006/relationships/package" Target="../embeddings/Microsoft_Excel_Worksheet193.xlsx"/><Relationship Id="rId1" Type="http://schemas.openxmlformats.org/officeDocument/2006/relationships/themeOverride" Target="../theme/themeOverride176.xml"/></Relationships>
</file>

<file path=ppt/charts/_rels/chart195.xml.rels><?xml version="1.0" encoding="UTF-8" standalone="yes"?>
<Relationships xmlns="http://schemas.openxmlformats.org/package/2006/relationships"><Relationship Id="rId3" Type="http://schemas.openxmlformats.org/officeDocument/2006/relationships/package" Target="../embeddings/Microsoft_Excel_Worksheet194.xlsx"/><Relationship Id="rId2" Type="http://schemas.microsoft.com/office/2011/relationships/chartColorStyle" Target="colors19.xml"/><Relationship Id="rId1" Type="http://schemas.microsoft.com/office/2011/relationships/chartStyle" Target="style19.xml"/></Relationships>
</file>

<file path=ppt/charts/_rels/chart196.xml.rels><?xml version="1.0" encoding="UTF-8" standalone="yes"?>
<Relationships xmlns="http://schemas.openxmlformats.org/package/2006/relationships"><Relationship Id="rId3" Type="http://schemas.openxmlformats.org/officeDocument/2006/relationships/package" Target="../embeddings/Microsoft_Excel_Worksheet195.xlsx"/><Relationship Id="rId2" Type="http://schemas.microsoft.com/office/2011/relationships/chartColorStyle" Target="colors20.xml"/><Relationship Id="rId1" Type="http://schemas.microsoft.com/office/2011/relationships/chartStyle" Target="style20.xml"/></Relationships>
</file>

<file path=ppt/charts/_rels/chart197.xml.rels><?xml version="1.0" encoding="UTF-8" standalone="yes"?>
<Relationships xmlns="http://schemas.openxmlformats.org/package/2006/relationships"><Relationship Id="rId2" Type="http://schemas.openxmlformats.org/officeDocument/2006/relationships/package" Target="../embeddings/Microsoft_Excel_Worksheet196.xlsx"/><Relationship Id="rId1" Type="http://schemas.openxmlformats.org/officeDocument/2006/relationships/themeOverride" Target="../theme/themeOverride177.xml"/></Relationships>
</file>

<file path=ppt/charts/_rels/chart198.xml.rels><?xml version="1.0" encoding="UTF-8" standalone="yes"?>
<Relationships xmlns="http://schemas.openxmlformats.org/package/2006/relationships"><Relationship Id="rId2" Type="http://schemas.openxmlformats.org/officeDocument/2006/relationships/package" Target="../embeddings/Microsoft_Excel_Worksheet197.xlsx"/><Relationship Id="rId1" Type="http://schemas.openxmlformats.org/officeDocument/2006/relationships/themeOverride" Target="../theme/themeOverride178.xml"/></Relationships>
</file>

<file path=ppt/charts/_rels/chart199.xml.rels><?xml version="1.0" encoding="UTF-8" standalone="yes"?>
<Relationships xmlns="http://schemas.openxmlformats.org/package/2006/relationships"><Relationship Id="rId2" Type="http://schemas.openxmlformats.org/officeDocument/2006/relationships/package" Target="../embeddings/Microsoft_Excel_Worksheet198.xlsx"/><Relationship Id="rId1" Type="http://schemas.openxmlformats.org/officeDocument/2006/relationships/themeOverride" Target="../theme/themeOverride179.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20.xml"/></Relationships>
</file>

<file path=ppt/charts/_rels/chart200.xml.rels><?xml version="1.0" encoding="UTF-8" standalone="yes"?>
<Relationships xmlns="http://schemas.openxmlformats.org/package/2006/relationships"><Relationship Id="rId2" Type="http://schemas.openxmlformats.org/officeDocument/2006/relationships/package" Target="../embeddings/Microsoft_Excel_Worksheet199.xlsx"/><Relationship Id="rId1" Type="http://schemas.openxmlformats.org/officeDocument/2006/relationships/themeOverride" Target="../theme/themeOverride180.xml"/></Relationships>
</file>

<file path=ppt/charts/_rels/chart201.xml.rels><?xml version="1.0" encoding="UTF-8" standalone="yes"?>
<Relationships xmlns="http://schemas.openxmlformats.org/package/2006/relationships"><Relationship Id="rId3" Type="http://schemas.openxmlformats.org/officeDocument/2006/relationships/package" Target="../embeddings/Microsoft_Excel_Worksheet200.xlsx"/><Relationship Id="rId2" Type="http://schemas.microsoft.com/office/2011/relationships/chartColorStyle" Target="colors21.xml"/><Relationship Id="rId1" Type="http://schemas.microsoft.com/office/2011/relationships/chartStyle" Target="style21.xml"/></Relationships>
</file>

<file path=ppt/charts/_rels/chart202.xml.rels><?xml version="1.0" encoding="UTF-8" standalone="yes"?>
<Relationships xmlns="http://schemas.openxmlformats.org/package/2006/relationships"><Relationship Id="rId3" Type="http://schemas.openxmlformats.org/officeDocument/2006/relationships/package" Target="../embeddings/Microsoft_Excel_Worksheet201.xlsx"/><Relationship Id="rId2" Type="http://schemas.microsoft.com/office/2011/relationships/chartColorStyle" Target="colors22.xml"/><Relationship Id="rId1" Type="http://schemas.microsoft.com/office/2011/relationships/chartStyle" Target="style22.xml"/></Relationships>
</file>

<file path=ppt/charts/_rels/chart203.xml.rels><?xml version="1.0" encoding="UTF-8" standalone="yes"?>
<Relationships xmlns="http://schemas.openxmlformats.org/package/2006/relationships"><Relationship Id="rId2" Type="http://schemas.openxmlformats.org/officeDocument/2006/relationships/package" Target="../embeddings/Microsoft_Excel_Worksheet202.xlsx"/><Relationship Id="rId1" Type="http://schemas.openxmlformats.org/officeDocument/2006/relationships/themeOverride" Target="../theme/themeOverride181.xml"/></Relationships>
</file>

<file path=ppt/charts/_rels/chart204.xml.rels><?xml version="1.0" encoding="UTF-8" standalone="yes"?>
<Relationships xmlns="http://schemas.openxmlformats.org/package/2006/relationships"><Relationship Id="rId2" Type="http://schemas.openxmlformats.org/officeDocument/2006/relationships/package" Target="../embeddings/Microsoft_Excel_Worksheet203.xlsx"/><Relationship Id="rId1" Type="http://schemas.openxmlformats.org/officeDocument/2006/relationships/themeOverride" Target="../theme/themeOverride182.xml"/></Relationships>
</file>

<file path=ppt/charts/_rels/chart205.xml.rels><?xml version="1.0" encoding="UTF-8" standalone="yes"?>
<Relationships xmlns="http://schemas.openxmlformats.org/package/2006/relationships"><Relationship Id="rId2" Type="http://schemas.openxmlformats.org/officeDocument/2006/relationships/package" Target="../embeddings/Microsoft_Excel_Worksheet204.xlsx"/><Relationship Id="rId1" Type="http://schemas.openxmlformats.org/officeDocument/2006/relationships/themeOverride" Target="../theme/themeOverride183.xml"/></Relationships>
</file>

<file path=ppt/charts/_rels/chart206.xml.rels><?xml version="1.0" encoding="UTF-8" standalone="yes"?>
<Relationships xmlns="http://schemas.openxmlformats.org/package/2006/relationships"><Relationship Id="rId2" Type="http://schemas.openxmlformats.org/officeDocument/2006/relationships/package" Target="../embeddings/Microsoft_Excel_Worksheet205.xlsx"/><Relationship Id="rId1" Type="http://schemas.openxmlformats.org/officeDocument/2006/relationships/themeOverride" Target="../theme/themeOverride184.xml"/></Relationships>
</file>

<file path=ppt/charts/_rels/chart207.xml.rels><?xml version="1.0" encoding="UTF-8" standalone="yes"?>
<Relationships xmlns="http://schemas.openxmlformats.org/package/2006/relationships"><Relationship Id="rId3" Type="http://schemas.openxmlformats.org/officeDocument/2006/relationships/package" Target="../embeddings/Microsoft_Excel_Worksheet206.xlsx"/><Relationship Id="rId2" Type="http://schemas.microsoft.com/office/2011/relationships/chartColorStyle" Target="colors23.xml"/><Relationship Id="rId1" Type="http://schemas.microsoft.com/office/2011/relationships/chartStyle" Target="style23.xml"/></Relationships>
</file>

<file path=ppt/charts/_rels/chart208.xml.rels><?xml version="1.0" encoding="UTF-8" standalone="yes"?>
<Relationships xmlns="http://schemas.openxmlformats.org/package/2006/relationships"><Relationship Id="rId3" Type="http://schemas.openxmlformats.org/officeDocument/2006/relationships/package" Target="../embeddings/Microsoft_Excel_Worksheet207.xlsx"/><Relationship Id="rId2" Type="http://schemas.microsoft.com/office/2011/relationships/chartColorStyle" Target="colors24.xml"/><Relationship Id="rId1" Type="http://schemas.microsoft.com/office/2011/relationships/chartStyle" Target="style24.xml"/></Relationships>
</file>

<file path=ppt/charts/_rels/chart209.xml.rels><?xml version="1.0" encoding="UTF-8" standalone="yes"?>
<Relationships xmlns="http://schemas.openxmlformats.org/package/2006/relationships"><Relationship Id="rId2" Type="http://schemas.openxmlformats.org/officeDocument/2006/relationships/package" Target="../embeddings/Microsoft_Excel_Worksheet208.xlsx"/><Relationship Id="rId1" Type="http://schemas.openxmlformats.org/officeDocument/2006/relationships/themeOverride" Target="../theme/themeOverride185.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21.xml"/></Relationships>
</file>

<file path=ppt/charts/_rels/chart210.xml.rels><?xml version="1.0" encoding="UTF-8" standalone="yes"?>
<Relationships xmlns="http://schemas.openxmlformats.org/package/2006/relationships"><Relationship Id="rId2" Type="http://schemas.openxmlformats.org/officeDocument/2006/relationships/package" Target="../embeddings/Microsoft_Excel_Worksheet209.xlsx"/><Relationship Id="rId1" Type="http://schemas.openxmlformats.org/officeDocument/2006/relationships/themeOverride" Target="../theme/themeOverride186.xml"/></Relationships>
</file>

<file path=ppt/charts/_rels/chart211.xml.rels><?xml version="1.0" encoding="UTF-8" standalone="yes"?>
<Relationships xmlns="http://schemas.openxmlformats.org/package/2006/relationships"><Relationship Id="rId2" Type="http://schemas.openxmlformats.org/officeDocument/2006/relationships/package" Target="../embeddings/Microsoft_Excel_Worksheet210.xlsx"/><Relationship Id="rId1" Type="http://schemas.openxmlformats.org/officeDocument/2006/relationships/themeOverride" Target="../theme/themeOverride187.xml"/></Relationships>
</file>

<file path=ppt/charts/_rels/chart212.xml.rels><?xml version="1.0" encoding="UTF-8" standalone="yes"?>
<Relationships xmlns="http://schemas.openxmlformats.org/package/2006/relationships"><Relationship Id="rId2" Type="http://schemas.openxmlformats.org/officeDocument/2006/relationships/package" Target="../embeddings/Microsoft_Excel_Worksheet211.xlsx"/><Relationship Id="rId1" Type="http://schemas.openxmlformats.org/officeDocument/2006/relationships/themeOverride" Target="../theme/themeOverride188.xml"/></Relationships>
</file>

<file path=ppt/charts/_rels/chart213.xml.rels><?xml version="1.0" encoding="UTF-8" standalone="yes"?>
<Relationships xmlns="http://schemas.openxmlformats.org/package/2006/relationships"><Relationship Id="rId3" Type="http://schemas.openxmlformats.org/officeDocument/2006/relationships/package" Target="../embeddings/Microsoft_Excel_Worksheet212.xlsx"/><Relationship Id="rId2" Type="http://schemas.microsoft.com/office/2011/relationships/chartColorStyle" Target="colors25.xml"/><Relationship Id="rId1" Type="http://schemas.microsoft.com/office/2011/relationships/chartStyle" Target="style25.xml"/></Relationships>
</file>

<file path=ppt/charts/_rels/chart214.xml.rels><?xml version="1.0" encoding="UTF-8" standalone="yes"?>
<Relationships xmlns="http://schemas.openxmlformats.org/package/2006/relationships"><Relationship Id="rId3" Type="http://schemas.openxmlformats.org/officeDocument/2006/relationships/package" Target="../embeddings/Microsoft_Excel_Worksheet213.xlsx"/><Relationship Id="rId2" Type="http://schemas.microsoft.com/office/2011/relationships/chartColorStyle" Target="colors26.xml"/><Relationship Id="rId1" Type="http://schemas.microsoft.com/office/2011/relationships/chartStyle" Target="style26.xml"/></Relationships>
</file>

<file path=ppt/charts/_rels/chart215.xml.rels><?xml version="1.0" encoding="UTF-8" standalone="yes"?>
<Relationships xmlns="http://schemas.openxmlformats.org/package/2006/relationships"><Relationship Id="rId2" Type="http://schemas.openxmlformats.org/officeDocument/2006/relationships/package" Target="../embeddings/Microsoft_Excel_Worksheet214.xlsx"/><Relationship Id="rId1" Type="http://schemas.openxmlformats.org/officeDocument/2006/relationships/themeOverride" Target="../theme/themeOverride189.xml"/></Relationships>
</file>

<file path=ppt/charts/_rels/chart216.xml.rels><?xml version="1.0" encoding="UTF-8" standalone="yes"?>
<Relationships xmlns="http://schemas.openxmlformats.org/package/2006/relationships"><Relationship Id="rId2" Type="http://schemas.openxmlformats.org/officeDocument/2006/relationships/package" Target="../embeddings/Microsoft_Excel_Worksheet215.xlsx"/><Relationship Id="rId1" Type="http://schemas.openxmlformats.org/officeDocument/2006/relationships/themeOverride" Target="../theme/themeOverride190.xml"/></Relationships>
</file>

<file path=ppt/charts/_rels/chart217.xml.rels><?xml version="1.0" encoding="UTF-8" standalone="yes"?>
<Relationships xmlns="http://schemas.openxmlformats.org/package/2006/relationships"><Relationship Id="rId2" Type="http://schemas.openxmlformats.org/officeDocument/2006/relationships/package" Target="../embeddings/Microsoft_Excel_Worksheet216.xlsx"/><Relationship Id="rId1" Type="http://schemas.openxmlformats.org/officeDocument/2006/relationships/themeOverride" Target="../theme/themeOverride191.xml"/></Relationships>
</file>

<file path=ppt/charts/_rels/chart218.xml.rels><?xml version="1.0" encoding="UTF-8" standalone="yes"?>
<Relationships xmlns="http://schemas.openxmlformats.org/package/2006/relationships"><Relationship Id="rId2" Type="http://schemas.openxmlformats.org/officeDocument/2006/relationships/package" Target="../embeddings/Microsoft_Excel_Worksheet217.xlsx"/><Relationship Id="rId1" Type="http://schemas.openxmlformats.org/officeDocument/2006/relationships/themeOverride" Target="../theme/themeOverride192.xml"/></Relationships>
</file>

<file path=ppt/charts/_rels/chart219.xml.rels><?xml version="1.0" encoding="UTF-8" standalone="yes"?>
<Relationships xmlns="http://schemas.openxmlformats.org/package/2006/relationships"><Relationship Id="rId3" Type="http://schemas.openxmlformats.org/officeDocument/2006/relationships/package" Target="../embeddings/Microsoft_Excel_Worksheet218.xlsx"/><Relationship Id="rId2" Type="http://schemas.microsoft.com/office/2011/relationships/chartColorStyle" Target="colors27.xml"/><Relationship Id="rId1" Type="http://schemas.microsoft.com/office/2011/relationships/chartStyle" Target="style27.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22.xml"/></Relationships>
</file>

<file path=ppt/charts/_rels/chart220.xml.rels><?xml version="1.0" encoding="UTF-8" standalone="yes"?>
<Relationships xmlns="http://schemas.openxmlformats.org/package/2006/relationships"><Relationship Id="rId3" Type="http://schemas.openxmlformats.org/officeDocument/2006/relationships/package" Target="../embeddings/Microsoft_Excel_Worksheet219.xlsx"/><Relationship Id="rId2" Type="http://schemas.microsoft.com/office/2011/relationships/chartColorStyle" Target="colors28.xml"/><Relationship Id="rId1" Type="http://schemas.microsoft.com/office/2011/relationships/chartStyle" Target="style28.xml"/></Relationships>
</file>

<file path=ppt/charts/_rels/chart221.xml.rels><?xml version="1.0" encoding="UTF-8" standalone="yes"?>
<Relationships xmlns="http://schemas.openxmlformats.org/package/2006/relationships"><Relationship Id="rId2" Type="http://schemas.openxmlformats.org/officeDocument/2006/relationships/package" Target="../embeddings/Microsoft_Excel_Worksheet220.xlsx"/><Relationship Id="rId1" Type="http://schemas.openxmlformats.org/officeDocument/2006/relationships/themeOverride" Target="../theme/themeOverride193.xml"/></Relationships>
</file>

<file path=ppt/charts/_rels/chart222.xml.rels><?xml version="1.0" encoding="UTF-8" standalone="yes"?>
<Relationships xmlns="http://schemas.openxmlformats.org/package/2006/relationships"><Relationship Id="rId2" Type="http://schemas.openxmlformats.org/officeDocument/2006/relationships/package" Target="../embeddings/Microsoft_Excel_Worksheet221.xlsx"/><Relationship Id="rId1" Type="http://schemas.openxmlformats.org/officeDocument/2006/relationships/themeOverride" Target="../theme/themeOverride194.xml"/></Relationships>
</file>

<file path=ppt/charts/_rels/chart223.xml.rels><?xml version="1.0" encoding="UTF-8" standalone="yes"?>
<Relationships xmlns="http://schemas.openxmlformats.org/package/2006/relationships"><Relationship Id="rId2" Type="http://schemas.openxmlformats.org/officeDocument/2006/relationships/package" Target="../embeddings/Microsoft_Excel_Worksheet222.xlsx"/><Relationship Id="rId1" Type="http://schemas.openxmlformats.org/officeDocument/2006/relationships/themeOverride" Target="../theme/themeOverride195.xml"/></Relationships>
</file>

<file path=ppt/charts/_rels/chart224.xml.rels><?xml version="1.0" encoding="UTF-8" standalone="yes"?>
<Relationships xmlns="http://schemas.openxmlformats.org/package/2006/relationships"><Relationship Id="rId2" Type="http://schemas.openxmlformats.org/officeDocument/2006/relationships/package" Target="../embeddings/Microsoft_Excel_Worksheet223.xlsx"/><Relationship Id="rId1" Type="http://schemas.openxmlformats.org/officeDocument/2006/relationships/themeOverride" Target="../theme/themeOverride196.xml"/></Relationships>
</file>

<file path=ppt/charts/_rels/chart225.xml.rels><?xml version="1.0" encoding="UTF-8" standalone="yes"?>
<Relationships xmlns="http://schemas.openxmlformats.org/package/2006/relationships"><Relationship Id="rId3" Type="http://schemas.openxmlformats.org/officeDocument/2006/relationships/package" Target="../embeddings/Microsoft_Excel_Worksheet224.xlsx"/><Relationship Id="rId2" Type="http://schemas.microsoft.com/office/2011/relationships/chartColorStyle" Target="colors29.xml"/><Relationship Id="rId1" Type="http://schemas.microsoft.com/office/2011/relationships/chartStyle" Target="style29.xml"/></Relationships>
</file>

<file path=ppt/charts/_rels/chart226.xml.rels><?xml version="1.0" encoding="UTF-8" standalone="yes"?>
<Relationships xmlns="http://schemas.openxmlformats.org/package/2006/relationships"><Relationship Id="rId3" Type="http://schemas.openxmlformats.org/officeDocument/2006/relationships/package" Target="../embeddings/Microsoft_Excel_Worksheet225.xlsx"/><Relationship Id="rId2" Type="http://schemas.microsoft.com/office/2011/relationships/chartColorStyle" Target="colors30.xml"/><Relationship Id="rId1" Type="http://schemas.microsoft.com/office/2011/relationships/chartStyle" Target="style30.xml"/></Relationships>
</file>

<file path=ppt/charts/_rels/chart227.xml.rels><?xml version="1.0" encoding="UTF-8" standalone="yes"?>
<Relationships xmlns="http://schemas.openxmlformats.org/package/2006/relationships"><Relationship Id="rId2" Type="http://schemas.openxmlformats.org/officeDocument/2006/relationships/package" Target="../embeddings/Microsoft_Excel_Worksheet226.xlsx"/><Relationship Id="rId1" Type="http://schemas.openxmlformats.org/officeDocument/2006/relationships/themeOverride" Target="../theme/themeOverride197.xml"/></Relationships>
</file>

<file path=ppt/charts/_rels/chart228.xml.rels><?xml version="1.0" encoding="UTF-8" standalone="yes"?>
<Relationships xmlns="http://schemas.openxmlformats.org/package/2006/relationships"><Relationship Id="rId2" Type="http://schemas.openxmlformats.org/officeDocument/2006/relationships/package" Target="../embeddings/Microsoft_Excel_Worksheet227.xlsx"/><Relationship Id="rId1" Type="http://schemas.openxmlformats.org/officeDocument/2006/relationships/themeOverride" Target="../theme/themeOverride198.xml"/></Relationships>
</file>

<file path=ppt/charts/_rels/chart229.xml.rels><?xml version="1.0" encoding="UTF-8" standalone="yes"?>
<Relationships xmlns="http://schemas.openxmlformats.org/package/2006/relationships"><Relationship Id="rId2" Type="http://schemas.openxmlformats.org/officeDocument/2006/relationships/package" Target="../embeddings/Microsoft_Excel_Worksheet228.xlsx"/><Relationship Id="rId1" Type="http://schemas.openxmlformats.org/officeDocument/2006/relationships/themeOverride" Target="../theme/themeOverride199.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23.xml"/></Relationships>
</file>

<file path=ppt/charts/_rels/chart230.xml.rels><?xml version="1.0" encoding="UTF-8" standalone="yes"?>
<Relationships xmlns="http://schemas.openxmlformats.org/package/2006/relationships"><Relationship Id="rId2" Type="http://schemas.openxmlformats.org/officeDocument/2006/relationships/package" Target="../embeddings/Microsoft_Excel_Worksheet229.xlsx"/><Relationship Id="rId1" Type="http://schemas.openxmlformats.org/officeDocument/2006/relationships/themeOverride" Target="../theme/themeOverride200.xml"/></Relationships>
</file>

<file path=ppt/charts/_rels/chart231.xml.rels><?xml version="1.0" encoding="UTF-8" standalone="yes"?>
<Relationships xmlns="http://schemas.openxmlformats.org/package/2006/relationships"><Relationship Id="rId3" Type="http://schemas.openxmlformats.org/officeDocument/2006/relationships/package" Target="../embeddings/Microsoft_Excel_Worksheet230.xlsx"/><Relationship Id="rId2" Type="http://schemas.microsoft.com/office/2011/relationships/chartColorStyle" Target="colors31.xml"/><Relationship Id="rId1" Type="http://schemas.microsoft.com/office/2011/relationships/chartStyle" Target="style31.xml"/></Relationships>
</file>

<file path=ppt/charts/_rels/chart232.xml.rels><?xml version="1.0" encoding="UTF-8" standalone="yes"?>
<Relationships xmlns="http://schemas.openxmlformats.org/package/2006/relationships"><Relationship Id="rId3" Type="http://schemas.openxmlformats.org/officeDocument/2006/relationships/package" Target="../embeddings/Microsoft_Excel_Worksheet231.xlsx"/><Relationship Id="rId2" Type="http://schemas.microsoft.com/office/2011/relationships/chartColorStyle" Target="colors32.xml"/><Relationship Id="rId1" Type="http://schemas.microsoft.com/office/2011/relationships/chartStyle" Target="style32.xml"/></Relationships>
</file>

<file path=ppt/charts/_rels/chart233.xml.rels><?xml version="1.0" encoding="UTF-8" standalone="yes"?>
<Relationships xmlns="http://schemas.openxmlformats.org/package/2006/relationships"><Relationship Id="rId2" Type="http://schemas.openxmlformats.org/officeDocument/2006/relationships/package" Target="../embeddings/Microsoft_Excel_Worksheet232.xlsx"/><Relationship Id="rId1" Type="http://schemas.openxmlformats.org/officeDocument/2006/relationships/themeOverride" Target="../theme/themeOverride201.xml"/></Relationships>
</file>

<file path=ppt/charts/_rels/chart234.xml.rels><?xml version="1.0" encoding="UTF-8" standalone="yes"?>
<Relationships xmlns="http://schemas.openxmlformats.org/package/2006/relationships"><Relationship Id="rId2" Type="http://schemas.openxmlformats.org/officeDocument/2006/relationships/package" Target="../embeddings/Microsoft_Excel_Worksheet233.xlsx"/><Relationship Id="rId1" Type="http://schemas.openxmlformats.org/officeDocument/2006/relationships/themeOverride" Target="../theme/themeOverride202.xml"/></Relationships>
</file>

<file path=ppt/charts/_rels/chart235.xml.rels><?xml version="1.0" encoding="UTF-8" standalone="yes"?>
<Relationships xmlns="http://schemas.openxmlformats.org/package/2006/relationships"><Relationship Id="rId2" Type="http://schemas.openxmlformats.org/officeDocument/2006/relationships/package" Target="../embeddings/Microsoft_Excel_Worksheet234.xlsx"/><Relationship Id="rId1" Type="http://schemas.openxmlformats.org/officeDocument/2006/relationships/themeOverride" Target="../theme/themeOverride203.xml"/></Relationships>
</file>

<file path=ppt/charts/_rels/chart236.xml.rels><?xml version="1.0" encoding="UTF-8" standalone="yes"?>
<Relationships xmlns="http://schemas.openxmlformats.org/package/2006/relationships"><Relationship Id="rId2" Type="http://schemas.openxmlformats.org/officeDocument/2006/relationships/package" Target="../embeddings/Microsoft_Excel_Worksheet235.xlsx"/><Relationship Id="rId1" Type="http://schemas.openxmlformats.org/officeDocument/2006/relationships/themeOverride" Target="../theme/themeOverride204.xml"/></Relationships>
</file>

<file path=ppt/charts/_rels/chart237.xml.rels><?xml version="1.0" encoding="UTF-8" standalone="yes"?>
<Relationships xmlns="http://schemas.openxmlformats.org/package/2006/relationships"><Relationship Id="rId3" Type="http://schemas.openxmlformats.org/officeDocument/2006/relationships/package" Target="../embeddings/Microsoft_Excel_Worksheet236.xlsx"/><Relationship Id="rId2" Type="http://schemas.microsoft.com/office/2011/relationships/chartColorStyle" Target="colors33.xml"/><Relationship Id="rId1" Type="http://schemas.microsoft.com/office/2011/relationships/chartStyle" Target="style33.xml"/></Relationships>
</file>

<file path=ppt/charts/_rels/chart238.xml.rels><?xml version="1.0" encoding="UTF-8" standalone="yes"?>
<Relationships xmlns="http://schemas.openxmlformats.org/package/2006/relationships"><Relationship Id="rId3" Type="http://schemas.openxmlformats.org/officeDocument/2006/relationships/package" Target="../embeddings/Microsoft_Excel_Worksheet237.xlsx"/><Relationship Id="rId2" Type="http://schemas.microsoft.com/office/2011/relationships/chartColorStyle" Target="colors34.xml"/><Relationship Id="rId1" Type="http://schemas.microsoft.com/office/2011/relationships/chartStyle" Target="style34.xml"/></Relationships>
</file>

<file path=ppt/charts/_rels/chart239.xml.rels><?xml version="1.0" encoding="UTF-8" standalone="yes"?>
<Relationships xmlns="http://schemas.openxmlformats.org/package/2006/relationships"><Relationship Id="rId2" Type="http://schemas.openxmlformats.org/officeDocument/2006/relationships/package" Target="../embeddings/Microsoft_Excel_Worksheet238.xlsx"/><Relationship Id="rId1" Type="http://schemas.openxmlformats.org/officeDocument/2006/relationships/themeOverride" Target="../theme/themeOverride205.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24.xml"/></Relationships>
</file>

<file path=ppt/charts/_rels/chart240.xml.rels><?xml version="1.0" encoding="UTF-8" standalone="yes"?>
<Relationships xmlns="http://schemas.openxmlformats.org/package/2006/relationships"><Relationship Id="rId2" Type="http://schemas.openxmlformats.org/officeDocument/2006/relationships/package" Target="../embeddings/Microsoft_Excel_Worksheet239.xlsx"/><Relationship Id="rId1" Type="http://schemas.openxmlformats.org/officeDocument/2006/relationships/themeOverride" Target="../theme/themeOverride206.xml"/></Relationships>
</file>

<file path=ppt/charts/_rels/chart241.xml.rels><?xml version="1.0" encoding="UTF-8" standalone="yes"?>
<Relationships xmlns="http://schemas.openxmlformats.org/package/2006/relationships"><Relationship Id="rId2" Type="http://schemas.openxmlformats.org/officeDocument/2006/relationships/package" Target="../embeddings/Microsoft_Excel_Worksheet240.xlsx"/><Relationship Id="rId1" Type="http://schemas.openxmlformats.org/officeDocument/2006/relationships/themeOverride" Target="../theme/themeOverride207.xml"/></Relationships>
</file>

<file path=ppt/charts/_rels/chart242.xml.rels><?xml version="1.0" encoding="UTF-8" standalone="yes"?>
<Relationships xmlns="http://schemas.openxmlformats.org/package/2006/relationships"><Relationship Id="rId2" Type="http://schemas.openxmlformats.org/officeDocument/2006/relationships/package" Target="../embeddings/Microsoft_Excel_Worksheet241.xlsx"/><Relationship Id="rId1" Type="http://schemas.openxmlformats.org/officeDocument/2006/relationships/themeOverride" Target="../theme/themeOverride208.xml"/></Relationships>
</file>

<file path=ppt/charts/_rels/chart243.xml.rels><?xml version="1.0" encoding="UTF-8" standalone="yes"?>
<Relationships xmlns="http://schemas.openxmlformats.org/package/2006/relationships"><Relationship Id="rId3" Type="http://schemas.openxmlformats.org/officeDocument/2006/relationships/package" Target="../embeddings/Microsoft_Excel_Worksheet242.xlsx"/><Relationship Id="rId2" Type="http://schemas.microsoft.com/office/2011/relationships/chartColorStyle" Target="colors35.xml"/><Relationship Id="rId1" Type="http://schemas.microsoft.com/office/2011/relationships/chartStyle" Target="style35.xml"/></Relationships>
</file>

<file path=ppt/charts/_rels/chart244.xml.rels><?xml version="1.0" encoding="UTF-8" standalone="yes"?>
<Relationships xmlns="http://schemas.openxmlformats.org/package/2006/relationships"><Relationship Id="rId3" Type="http://schemas.openxmlformats.org/officeDocument/2006/relationships/package" Target="../embeddings/Microsoft_Excel_Worksheet243.xlsx"/><Relationship Id="rId2" Type="http://schemas.microsoft.com/office/2011/relationships/chartColorStyle" Target="colors36.xml"/><Relationship Id="rId1" Type="http://schemas.microsoft.com/office/2011/relationships/chartStyle" Target="style36.xml"/></Relationships>
</file>

<file path=ppt/charts/_rels/chart245.xml.rels><?xml version="1.0" encoding="UTF-8" standalone="yes"?>
<Relationships xmlns="http://schemas.openxmlformats.org/package/2006/relationships"><Relationship Id="rId2" Type="http://schemas.openxmlformats.org/officeDocument/2006/relationships/package" Target="../embeddings/Microsoft_Excel_Worksheet244.xlsx"/><Relationship Id="rId1" Type="http://schemas.openxmlformats.org/officeDocument/2006/relationships/themeOverride" Target="../theme/themeOverride209.xml"/></Relationships>
</file>

<file path=ppt/charts/_rels/chart246.xml.rels><?xml version="1.0" encoding="UTF-8" standalone="yes"?>
<Relationships xmlns="http://schemas.openxmlformats.org/package/2006/relationships"><Relationship Id="rId2" Type="http://schemas.openxmlformats.org/officeDocument/2006/relationships/package" Target="../embeddings/Microsoft_Excel_Worksheet245.xlsx"/><Relationship Id="rId1" Type="http://schemas.openxmlformats.org/officeDocument/2006/relationships/themeOverride" Target="../theme/themeOverride210.xml"/></Relationships>
</file>

<file path=ppt/charts/_rels/chart247.xml.rels><?xml version="1.0" encoding="UTF-8" standalone="yes"?>
<Relationships xmlns="http://schemas.openxmlformats.org/package/2006/relationships"><Relationship Id="rId2" Type="http://schemas.openxmlformats.org/officeDocument/2006/relationships/package" Target="../embeddings/Microsoft_Excel_Worksheet246.xlsx"/><Relationship Id="rId1" Type="http://schemas.openxmlformats.org/officeDocument/2006/relationships/themeOverride" Target="../theme/themeOverride211.xml"/></Relationships>
</file>

<file path=ppt/charts/_rels/chart248.xml.rels><?xml version="1.0" encoding="UTF-8" standalone="yes"?>
<Relationships xmlns="http://schemas.openxmlformats.org/package/2006/relationships"><Relationship Id="rId2" Type="http://schemas.openxmlformats.org/officeDocument/2006/relationships/package" Target="../embeddings/Microsoft_Excel_Worksheet247.xlsx"/><Relationship Id="rId1" Type="http://schemas.openxmlformats.org/officeDocument/2006/relationships/themeOverride" Target="../theme/themeOverride212.xml"/></Relationships>
</file>

<file path=ppt/charts/_rels/chart249.xml.rels><?xml version="1.0" encoding="UTF-8" standalone="yes"?>
<Relationships xmlns="http://schemas.openxmlformats.org/package/2006/relationships"><Relationship Id="rId3" Type="http://schemas.openxmlformats.org/officeDocument/2006/relationships/package" Target="../embeddings/Microsoft_Excel_Worksheet248.xlsx"/><Relationship Id="rId2" Type="http://schemas.microsoft.com/office/2011/relationships/chartColorStyle" Target="colors37.xml"/><Relationship Id="rId1" Type="http://schemas.microsoft.com/office/2011/relationships/chartStyle" Target="style37.xml"/></Relationships>
</file>

<file path=ppt/charts/_rels/chart25.xml.rels><?xml version="1.0" encoding="UTF-8" standalone="yes"?>
<Relationships xmlns="http://schemas.openxmlformats.org/package/2006/relationships"><Relationship Id="rId2" Type="http://schemas.openxmlformats.org/officeDocument/2006/relationships/package" Target="../embeddings/Microsoft_Excel_Worksheet24.xlsx"/><Relationship Id="rId1" Type="http://schemas.openxmlformats.org/officeDocument/2006/relationships/themeOverride" Target="../theme/themeOverride25.xml"/></Relationships>
</file>

<file path=ppt/charts/_rels/chart250.xml.rels><?xml version="1.0" encoding="UTF-8" standalone="yes"?>
<Relationships xmlns="http://schemas.openxmlformats.org/package/2006/relationships"><Relationship Id="rId3" Type="http://schemas.openxmlformats.org/officeDocument/2006/relationships/package" Target="../embeddings/Microsoft_Excel_Worksheet249.xlsx"/><Relationship Id="rId2" Type="http://schemas.microsoft.com/office/2011/relationships/chartColorStyle" Target="colors38.xml"/><Relationship Id="rId1" Type="http://schemas.microsoft.com/office/2011/relationships/chartStyle" Target="style38.xml"/></Relationships>
</file>

<file path=ppt/charts/_rels/chart251.xml.rels><?xml version="1.0" encoding="UTF-8" standalone="yes"?>
<Relationships xmlns="http://schemas.openxmlformats.org/package/2006/relationships"><Relationship Id="rId3" Type="http://schemas.openxmlformats.org/officeDocument/2006/relationships/package" Target="../embeddings/Microsoft_Excel_Worksheet250.xlsx"/><Relationship Id="rId2" Type="http://schemas.microsoft.com/office/2011/relationships/chartColorStyle" Target="colors39.xml"/><Relationship Id="rId1" Type="http://schemas.microsoft.com/office/2011/relationships/chartStyle" Target="style39.xml"/></Relationships>
</file>

<file path=ppt/charts/_rels/chart252.xml.rels><?xml version="1.0" encoding="UTF-8" standalone="yes"?>
<Relationships xmlns="http://schemas.openxmlformats.org/package/2006/relationships"><Relationship Id="rId3" Type="http://schemas.openxmlformats.org/officeDocument/2006/relationships/package" Target="../embeddings/Microsoft_Excel_Worksheet251.xlsx"/><Relationship Id="rId2" Type="http://schemas.microsoft.com/office/2011/relationships/chartColorStyle" Target="colors40.xml"/><Relationship Id="rId1" Type="http://schemas.microsoft.com/office/2011/relationships/chartStyle" Target="style40.xml"/></Relationships>
</file>

<file path=ppt/charts/_rels/chart253.xml.rels><?xml version="1.0" encoding="UTF-8" standalone="yes"?>
<Relationships xmlns="http://schemas.openxmlformats.org/package/2006/relationships"><Relationship Id="rId3" Type="http://schemas.openxmlformats.org/officeDocument/2006/relationships/package" Target="../embeddings/Microsoft_Excel_Worksheet252.xlsx"/><Relationship Id="rId2" Type="http://schemas.microsoft.com/office/2011/relationships/chartColorStyle" Target="colors41.xml"/><Relationship Id="rId1" Type="http://schemas.microsoft.com/office/2011/relationships/chartStyle" Target="style41.xml"/></Relationships>
</file>

<file path=ppt/charts/_rels/chart254.xml.rels><?xml version="1.0" encoding="UTF-8" standalone="yes"?>
<Relationships xmlns="http://schemas.openxmlformats.org/package/2006/relationships"><Relationship Id="rId3" Type="http://schemas.openxmlformats.org/officeDocument/2006/relationships/package" Target="../embeddings/Microsoft_Excel_Worksheet253.xlsx"/><Relationship Id="rId2" Type="http://schemas.microsoft.com/office/2011/relationships/chartColorStyle" Target="colors42.xml"/><Relationship Id="rId1" Type="http://schemas.microsoft.com/office/2011/relationships/chartStyle" Target="style42.xml"/></Relationships>
</file>

<file path=ppt/charts/_rels/chart255.xml.rels><?xml version="1.0" encoding="UTF-8" standalone="yes"?>
<Relationships xmlns="http://schemas.openxmlformats.org/package/2006/relationships"><Relationship Id="rId3" Type="http://schemas.openxmlformats.org/officeDocument/2006/relationships/package" Target="../embeddings/Microsoft_Excel_Worksheet254.xlsx"/><Relationship Id="rId2" Type="http://schemas.microsoft.com/office/2011/relationships/chartColorStyle" Target="colors43.xml"/><Relationship Id="rId1" Type="http://schemas.microsoft.com/office/2011/relationships/chartStyle" Target="style43.xml"/></Relationships>
</file>

<file path=ppt/charts/_rels/chart256.xml.rels><?xml version="1.0" encoding="UTF-8" standalone="yes"?>
<Relationships xmlns="http://schemas.openxmlformats.org/package/2006/relationships"><Relationship Id="rId3" Type="http://schemas.openxmlformats.org/officeDocument/2006/relationships/package" Target="../embeddings/Microsoft_Excel_Worksheet255.xlsx"/><Relationship Id="rId2" Type="http://schemas.microsoft.com/office/2011/relationships/chartColorStyle" Target="colors44.xml"/><Relationship Id="rId1" Type="http://schemas.microsoft.com/office/2011/relationships/chartStyle" Target="style44.xml"/></Relationships>
</file>

<file path=ppt/charts/_rels/chart257.xml.rels><?xml version="1.0" encoding="UTF-8" standalone="yes"?>
<Relationships xmlns="http://schemas.openxmlformats.org/package/2006/relationships"><Relationship Id="rId3" Type="http://schemas.openxmlformats.org/officeDocument/2006/relationships/package" Target="../embeddings/Microsoft_Excel_Worksheet256.xlsx"/><Relationship Id="rId2" Type="http://schemas.microsoft.com/office/2011/relationships/chartColorStyle" Target="colors45.xml"/><Relationship Id="rId1" Type="http://schemas.microsoft.com/office/2011/relationships/chartStyle" Target="style45.xml"/></Relationships>
</file>

<file path=ppt/charts/_rels/chart258.xml.rels><?xml version="1.0" encoding="UTF-8" standalone="yes"?>
<Relationships xmlns="http://schemas.openxmlformats.org/package/2006/relationships"><Relationship Id="rId3" Type="http://schemas.openxmlformats.org/officeDocument/2006/relationships/package" Target="../embeddings/Microsoft_Excel_Worksheet257.xlsx"/><Relationship Id="rId2" Type="http://schemas.microsoft.com/office/2011/relationships/chartColorStyle" Target="colors46.xml"/><Relationship Id="rId1" Type="http://schemas.microsoft.com/office/2011/relationships/chartStyle" Target="style46.xml"/></Relationships>
</file>

<file path=ppt/charts/_rels/chart259.xml.rels><?xml version="1.0" encoding="UTF-8" standalone="yes"?>
<Relationships xmlns="http://schemas.openxmlformats.org/package/2006/relationships"><Relationship Id="rId3" Type="http://schemas.openxmlformats.org/officeDocument/2006/relationships/package" Target="../embeddings/Microsoft_Excel_Worksheet258.xlsx"/><Relationship Id="rId2" Type="http://schemas.microsoft.com/office/2011/relationships/chartColorStyle" Target="colors47.xml"/><Relationship Id="rId1" Type="http://schemas.microsoft.com/office/2011/relationships/chartStyle" Target="style47.xml"/></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26.xml"/></Relationships>
</file>

<file path=ppt/charts/_rels/chart260.xml.rels><?xml version="1.0" encoding="UTF-8" standalone="yes"?>
<Relationships xmlns="http://schemas.openxmlformats.org/package/2006/relationships"><Relationship Id="rId3" Type="http://schemas.openxmlformats.org/officeDocument/2006/relationships/package" Target="../embeddings/Microsoft_Excel_Worksheet259.xlsx"/><Relationship Id="rId2" Type="http://schemas.microsoft.com/office/2011/relationships/chartColorStyle" Target="colors48.xml"/><Relationship Id="rId1" Type="http://schemas.microsoft.com/office/2011/relationships/chartStyle" Target="style48.xml"/></Relationships>
</file>

<file path=ppt/charts/_rels/chart261.xml.rels><?xml version="1.0" encoding="UTF-8" standalone="yes"?>
<Relationships xmlns="http://schemas.openxmlformats.org/package/2006/relationships"><Relationship Id="rId3" Type="http://schemas.openxmlformats.org/officeDocument/2006/relationships/package" Target="../embeddings/Microsoft_Excel_Worksheet260.xlsx"/><Relationship Id="rId2" Type="http://schemas.microsoft.com/office/2011/relationships/chartColorStyle" Target="colors49.xml"/><Relationship Id="rId1" Type="http://schemas.microsoft.com/office/2011/relationships/chartStyle" Target="style49.xml"/></Relationships>
</file>

<file path=ppt/charts/_rels/chart262.xml.rels><?xml version="1.0" encoding="UTF-8" standalone="yes"?>
<Relationships xmlns="http://schemas.openxmlformats.org/package/2006/relationships"><Relationship Id="rId3" Type="http://schemas.openxmlformats.org/officeDocument/2006/relationships/package" Target="../embeddings/Microsoft_Excel_Worksheet261.xlsx"/><Relationship Id="rId2" Type="http://schemas.microsoft.com/office/2011/relationships/chartColorStyle" Target="colors50.xml"/><Relationship Id="rId1" Type="http://schemas.microsoft.com/office/2011/relationships/chartStyle" Target="style50.xml"/></Relationships>
</file>

<file path=ppt/charts/_rels/chart263.xml.rels><?xml version="1.0" encoding="UTF-8" standalone="yes"?>
<Relationships xmlns="http://schemas.openxmlformats.org/package/2006/relationships"><Relationship Id="rId3" Type="http://schemas.openxmlformats.org/officeDocument/2006/relationships/package" Target="../embeddings/Microsoft_Excel_Worksheet262.xlsx"/><Relationship Id="rId2" Type="http://schemas.microsoft.com/office/2011/relationships/chartColorStyle" Target="colors51.xml"/><Relationship Id="rId1" Type="http://schemas.microsoft.com/office/2011/relationships/chartStyle" Target="style51.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27.xml"/></Relationships>
</file>

<file path=ppt/charts/_rels/chart28.xml.rels><?xml version="1.0" encoding="UTF-8" standalone="yes"?>
<Relationships xmlns="http://schemas.openxmlformats.org/package/2006/relationships"><Relationship Id="rId2" Type="http://schemas.openxmlformats.org/officeDocument/2006/relationships/package" Target="../embeddings/Microsoft_Excel_Worksheet27.xlsx"/><Relationship Id="rId1" Type="http://schemas.openxmlformats.org/officeDocument/2006/relationships/themeOverride" Target="../theme/themeOverride28.xml"/></Relationships>
</file>

<file path=ppt/charts/_rels/chart29.xml.rels><?xml version="1.0" encoding="UTF-8" standalone="yes"?>
<Relationships xmlns="http://schemas.openxmlformats.org/package/2006/relationships"><Relationship Id="rId2" Type="http://schemas.openxmlformats.org/officeDocument/2006/relationships/package" Target="../embeddings/Microsoft_Excel_Worksheet28.xlsx"/><Relationship Id="rId1" Type="http://schemas.openxmlformats.org/officeDocument/2006/relationships/themeOverride" Target="../theme/themeOverride29.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30.xml.rels><?xml version="1.0" encoding="UTF-8" standalone="yes"?>
<Relationships xmlns="http://schemas.openxmlformats.org/package/2006/relationships"><Relationship Id="rId2" Type="http://schemas.openxmlformats.org/officeDocument/2006/relationships/package" Target="../embeddings/Microsoft_Excel_Worksheet29.xlsx"/><Relationship Id="rId1" Type="http://schemas.openxmlformats.org/officeDocument/2006/relationships/themeOverride" Target="../theme/themeOverride30.xml"/></Relationships>
</file>

<file path=ppt/charts/_rels/chart31.xml.rels><?xml version="1.0" encoding="UTF-8" standalone="yes"?>
<Relationships xmlns="http://schemas.openxmlformats.org/package/2006/relationships"><Relationship Id="rId2" Type="http://schemas.openxmlformats.org/officeDocument/2006/relationships/package" Target="../embeddings/Microsoft_Excel_Worksheet30.xlsx"/><Relationship Id="rId1" Type="http://schemas.openxmlformats.org/officeDocument/2006/relationships/themeOverride" Target="../theme/themeOverride31.xml"/></Relationships>
</file>

<file path=ppt/charts/_rels/chart32.xml.rels><?xml version="1.0" encoding="UTF-8" standalone="yes"?>
<Relationships xmlns="http://schemas.openxmlformats.org/package/2006/relationships"><Relationship Id="rId2" Type="http://schemas.openxmlformats.org/officeDocument/2006/relationships/package" Target="../embeddings/Microsoft_Excel_Worksheet31.xlsx"/><Relationship Id="rId1" Type="http://schemas.openxmlformats.org/officeDocument/2006/relationships/themeOverride" Target="../theme/themeOverride32.xml"/></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33.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34.xml"/></Relationships>
</file>

<file path=ppt/charts/_rels/chart35.xml.rels><?xml version="1.0" encoding="UTF-8" standalone="yes"?>
<Relationships xmlns="http://schemas.openxmlformats.org/package/2006/relationships"><Relationship Id="rId2" Type="http://schemas.openxmlformats.org/officeDocument/2006/relationships/package" Target="../embeddings/Microsoft_Excel_Worksheet34.xlsx"/><Relationship Id="rId1" Type="http://schemas.openxmlformats.org/officeDocument/2006/relationships/themeOverride" Target="../theme/themeOverride35.xml"/></Relationships>
</file>

<file path=ppt/charts/_rels/chart36.xml.rels><?xml version="1.0" encoding="UTF-8" standalone="yes"?>
<Relationships xmlns="http://schemas.openxmlformats.org/package/2006/relationships"><Relationship Id="rId2" Type="http://schemas.openxmlformats.org/officeDocument/2006/relationships/package" Target="../embeddings/Microsoft_Excel_Worksheet35.xlsx"/><Relationship Id="rId1" Type="http://schemas.openxmlformats.org/officeDocument/2006/relationships/themeOverride" Target="../theme/themeOverride36.xml"/></Relationships>
</file>

<file path=ppt/charts/_rels/chart37.xml.rels><?xml version="1.0" encoding="UTF-8" standalone="yes"?>
<Relationships xmlns="http://schemas.openxmlformats.org/package/2006/relationships"><Relationship Id="rId2" Type="http://schemas.openxmlformats.org/officeDocument/2006/relationships/package" Target="../embeddings/Microsoft_Excel_Worksheet36.xlsx"/><Relationship Id="rId1" Type="http://schemas.openxmlformats.org/officeDocument/2006/relationships/themeOverride" Target="../theme/themeOverride37.xml"/></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38.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39.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_rels/chart40.xml.rels><?xml version="1.0" encoding="UTF-8" standalone="yes"?>
<Relationships xmlns="http://schemas.openxmlformats.org/package/2006/relationships"><Relationship Id="rId2" Type="http://schemas.openxmlformats.org/officeDocument/2006/relationships/package" Target="../embeddings/Microsoft_Excel_Worksheet39.xlsx"/><Relationship Id="rId1" Type="http://schemas.openxmlformats.org/officeDocument/2006/relationships/themeOverride" Target="../theme/themeOverride40.xml"/></Relationships>
</file>

<file path=ppt/charts/_rels/chart41.xml.rels><?xml version="1.0" encoding="UTF-8" standalone="yes"?>
<Relationships xmlns="http://schemas.openxmlformats.org/package/2006/relationships"><Relationship Id="rId2" Type="http://schemas.openxmlformats.org/officeDocument/2006/relationships/package" Target="../embeddings/Microsoft_Excel_Worksheet40.xlsx"/><Relationship Id="rId1" Type="http://schemas.openxmlformats.org/officeDocument/2006/relationships/themeOverride" Target="../theme/themeOverride41.xml"/></Relationships>
</file>

<file path=ppt/charts/_rels/chart42.xml.rels><?xml version="1.0" encoding="UTF-8" standalone="yes"?>
<Relationships xmlns="http://schemas.openxmlformats.org/package/2006/relationships"><Relationship Id="rId2" Type="http://schemas.openxmlformats.org/officeDocument/2006/relationships/package" Target="../embeddings/Microsoft_Excel_Worksheet41.xlsx"/><Relationship Id="rId1" Type="http://schemas.openxmlformats.org/officeDocument/2006/relationships/themeOverride" Target="../theme/themeOverride42.xml"/></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43.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44.xml"/></Relationships>
</file>

<file path=ppt/charts/_rels/chart45.xml.rels><?xml version="1.0" encoding="UTF-8" standalone="yes"?>
<Relationships xmlns="http://schemas.openxmlformats.org/package/2006/relationships"><Relationship Id="rId2" Type="http://schemas.openxmlformats.org/officeDocument/2006/relationships/package" Target="../embeddings/Microsoft_Excel_Worksheet44.xlsx"/><Relationship Id="rId1" Type="http://schemas.openxmlformats.org/officeDocument/2006/relationships/themeOverride" Target="../theme/themeOverride45.xml"/></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46.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47.xml"/></Relationships>
</file>

<file path=ppt/charts/_rels/chart48.xml.rels><?xml version="1.0" encoding="UTF-8" standalone="yes"?>
<Relationships xmlns="http://schemas.openxmlformats.org/package/2006/relationships"><Relationship Id="rId2" Type="http://schemas.openxmlformats.org/officeDocument/2006/relationships/package" Target="../embeddings/Microsoft_Excel_Worksheet47.xlsx"/><Relationship Id="rId1" Type="http://schemas.openxmlformats.org/officeDocument/2006/relationships/themeOverride" Target="../theme/themeOverride48.xml"/></Relationships>
</file>

<file path=ppt/charts/_rels/chart49.xml.rels><?xml version="1.0" encoding="UTF-8" standalone="yes"?>
<Relationships xmlns="http://schemas.openxmlformats.org/package/2006/relationships"><Relationship Id="rId2" Type="http://schemas.openxmlformats.org/officeDocument/2006/relationships/package" Target="../embeddings/Microsoft_Excel_Worksheet48.xlsx"/><Relationship Id="rId1" Type="http://schemas.openxmlformats.org/officeDocument/2006/relationships/themeOverride" Target="../theme/themeOverride49.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5.xml"/></Relationships>
</file>

<file path=ppt/charts/_rels/chart50.xml.rels><?xml version="1.0" encoding="UTF-8" standalone="yes"?>
<Relationships xmlns="http://schemas.openxmlformats.org/package/2006/relationships"><Relationship Id="rId2" Type="http://schemas.openxmlformats.org/officeDocument/2006/relationships/package" Target="../embeddings/Microsoft_Excel_Worksheet49.xlsx"/><Relationship Id="rId1" Type="http://schemas.openxmlformats.org/officeDocument/2006/relationships/themeOverride" Target="../theme/themeOverride50.xml"/></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51.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52.xml"/></Relationships>
</file>

<file path=ppt/charts/_rels/chart53.xml.rels><?xml version="1.0" encoding="UTF-8" standalone="yes"?>
<Relationships xmlns="http://schemas.openxmlformats.org/package/2006/relationships"><Relationship Id="rId2" Type="http://schemas.openxmlformats.org/officeDocument/2006/relationships/package" Target="../embeddings/Microsoft_Excel_Worksheet52.xlsx"/><Relationship Id="rId1" Type="http://schemas.openxmlformats.org/officeDocument/2006/relationships/themeOverride" Target="../theme/themeOverride53.xml"/></Relationships>
</file>

<file path=ppt/charts/_rels/chart54.xml.rels><?xml version="1.0" encoding="UTF-8" standalone="yes"?>
<Relationships xmlns="http://schemas.openxmlformats.org/package/2006/relationships"><Relationship Id="rId2" Type="http://schemas.openxmlformats.org/officeDocument/2006/relationships/package" Target="../embeddings/Microsoft_Excel_Worksheet53.xlsx"/><Relationship Id="rId1" Type="http://schemas.openxmlformats.org/officeDocument/2006/relationships/themeOverride" Target="../theme/themeOverride54.xml"/></Relationships>
</file>

<file path=ppt/charts/_rels/chart55.xml.rels><?xml version="1.0" encoding="UTF-8" standalone="yes"?>
<Relationships xmlns="http://schemas.openxmlformats.org/package/2006/relationships"><Relationship Id="rId2" Type="http://schemas.openxmlformats.org/officeDocument/2006/relationships/package" Target="../embeddings/Microsoft_Excel_Worksheet54.xlsx"/><Relationship Id="rId1" Type="http://schemas.openxmlformats.org/officeDocument/2006/relationships/themeOverride" Target="../theme/themeOverride55.xml"/></Relationships>
</file>

<file path=ppt/charts/_rels/chart56.xml.rels><?xml version="1.0" encoding="UTF-8" standalone="yes"?>
<Relationships xmlns="http://schemas.openxmlformats.org/package/2006/relationships"><Relationship Id="rId2" Type="http://schemas.openxmlformats.org/officeDocument/2006/relationships/package" Target="../embeddings/Microsoft_Excel_Worksheet55.xlsx"/><Relationship Id="rId1" Type="http://schemas.openxmlformats.org/officeDocument/2006/relationships/themeOverride" Target="../theme/themeOverride56.xml"/></Relationships>
</file>

<file path=ppt/charts/_rels/chart57.xml.rels><?xml version="1.0" encoding="UTF-8" standalone="yes"?>
<Relationships xmlns="http://schemas.openxmlformats.org/package/2006/relationships"><Relationship Id="rId2" Type="http://schemas.openxmlformats.org/officeDocument/2006/relationships/package" Target="../embeddings/Microsoft_Excel_Worksheet56.xlsx"/><Relationship Id="rId1" Type="http://schemas.openxmlformats.org/officeDocument/2006/relationships/themeOverride" Target="../theme/themeOverride57.xml"/></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58.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59.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6.xml"/></Relationships>
</file>

<file path=ppt/charts/_rels/chart60.xml.rels><?xml version="1.0" encoding="UTF-8" standalone="yes"?>
<Relationships xmlns="http://schemas.openxmlformats.org/package/2006/relationships"><Relationship Id="rId2" Type="http://schemas.openxmlformats.org/officeDocument/2006/relationships/package" Target="../embeddings/Microsoft_Excel_Worksheet59.xlsx"/><Relationship Id="rId1" Type="http://schemas.openxmlformats.org/officeDocument/2006/relationships/themeOverride" Target="../theme/themeOverride60.xml"/></Relationships>
</file>

<file path=ppt/charts/_rels/chart61.xml.rels><?xml version="1.0" encoding="UTF-8" standalone="yes"?>
<Relationships xmlns="http://schemas.openxmlformats.org/package/2006/relationships"><Relationship Id="rId2" Type="http://schemas.openxmlformats.org/officeDocument/2006/relationships/package" Target="../embeddings/Microsoft_Excel_Worksheet60.xlsx"/><Relationship Id="rId1" Type="http://schemas.openxmlformats.org/officeDocument/2006/relationships/themeOverride" Target="../theme/themeOverride61.xml"/></Relationships>
</file>

<file path=ppt/charts/_rels/chart62.xml.rels><?xml version="1.0" encoding="UTF-8" standalone="yes"?>
<Relationships xmlns="http://schemas.openxmlformats.org/package/2006/relationships"><Relationship Id="rId2" Type="http://schemas.openxmlformats.org/officeDocument/2006/relationships/package" Target="../embeddings/Microsoft_Excel_Worksheet61.xlsx"/><Relationship Id="rId1" Type="http://schemas.openxmlformats.org/officeDocument/2006/relationships/themeOverride" Target="../theme/themeOverride62.xml"/></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63.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64.xml"/></Relationships>
</file>

<file path=ppt/charts/_rels/chart65.xml.rels><?xml version="1.0" encoding="UTF-8" standalone="yes"?>
<Relationships xmlns="http://schemas.openxmlformats.org/package/2006/relationships"><Relationship Id="rId2" Type="http://schemas.openxmlformats.org/officeDocument/2006/relationships/package" Target="../embeddings/Microsoft_Excel_Worksheet64.xlsx"/><Relationship Id="rId1" Type="http://schemas.openxmlformats.org/officeDocument/2006/relationships/themeOverride" Target="../theme/themeOverride65.xml"/></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66.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67.xml"/></Relationships>
</file>

<file path=ppt/charts/_rels/chart68.xml.rels><?xml version="1.0" encoding="UTF-8" standalone="yes"?>
<Relationships xmlns="http://schemas.openxmlformats.org/package/2006/relationships"><Relationship Id="rId2" Type="http://schemas.openxmlformats.org/officeDocument/2006/relationships/package" Target="../embeddings/Microsoft_Excel_Worksheet67.xlsx"/><Relationship Id="rId1" Type="http://schemas.openxmlformats.org/officeDocument/2006/relationships/themeOverride" Target="../theme/themeOverride68.xml"/></Relationships>
</file>

<file path=ppt/charts/_rels/chart69.xml.rels><?xml version="1.0" encoding="UTF-8" standalone="yes"?>
<Relationships xmlns="http://schemas.openxmlformats.org/package/2006/relationships"><Relationship Id="rId2" Type="http://schemas.openxmlformats.org/officeDocument/2006/relationships/package" Target="../embeddings/Microsoft_Excel_Worksheet68.xlsx"/><Relationship Id="rId1" Type="http://schemas.openxmlformats.org/officeDocument/2006/relationships/themeOverride" Target="../theme/themeOverride69.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7.xml"/></Relationships>
</file>

<file path=ppt/charts/_rels/chart70.xml.rels><?xml version="1.0" encoding="UTF-8" standalone="yes"?>
<Relationships xmlns="http://schemas.openxmlformats.org/package/2006/relationships"><Relationship Id="rId2" Type="http://schemas.openxmlformats.org/officeDocument/2006/relationships/package" Target="../embeddings/Microsoft_Excel_Worksheet69.xlsx"/><Relationship Id="rId1" Type="http://schemas.openxmlformats.org/officeDocument/2006/relationships/themeOverride" Target="../theme/themeOverride70.xml"/></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7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7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7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7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7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7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7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7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79.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8.xml"/></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8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8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8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8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84.xml"/></Relationships>
</file>

<file path=ppt/charts/_rels/chart85.xml.rels><?xml version="1.0" encoding="UTF-8" standalone="yes"?>
<Relationships xmlns="http://schemas.openxmlformats.org/package/2006/relationships"><Relationship Id="rId2" Type="http://schemas.openxmlformats.org/officeDocument/2006/relationships/package" Target="../embeddings/Microsoft_Excel_Worksheet84.xlsx"/><Relationship Id="rId1" Type="http://schemas.openxmlformats.org/officeDocument/2006/relationships/themeOverride" Target="../theme/themeOverride85.xml"/></Relationships>
</file>

<file path=ppt/charts/_rels/chart86.xml.rels><?xml version="1.0" encoding="UTF-8" standalone="yes"?>
<Relationships xmlns="http://schemas.openxmlformats.org/package/2006/relationships"><Relationship Id="rId2" Type="http://schemas.openxmlformats.org/officeDocument/2006/relationships/package" Target="../embeddings/Microsoft_Excel_Worksheet85.xlsx"/><Relationship Id="rId1" Type="http://schemas.openxmlformats.org/officeDocument/2006/relationships/themeOverride" Target="../theme/themeOverride86.xml"/></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87.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88.xml"/></Relationships>
</file>

<file path=ppt/charts/_rels/chart89.xml.rels><?xml version="1.0" encoding="UTF-8" standalone="yes"?>
<Relationships xmlns="http://schemas.openxmlformats.org/package/2006/relationships"><Relationship Id="rId2" Type="http://schemas.openxmlformats.org/officeDocument/2006/relationships/package" Target="../embeddings/Microsoft_Excel_Worksheet88.xlsx"/><Relationship Id="rId1" Type="http://schemas.openxmlformats.org/officeDocument/2006/relationships/themeOverride" Target="../theme/themeOverride89.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9.xml"/></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90.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91.xml"/></Relationships>
</file>

<file path=ppt/charts/_rels/chart92.xml.rels><?xml version="1.0" encoding="UTF-8" standalone="yes"?>
<Relationships xmlns="http://schemas.openxmlformats.org/package/2006/relationships"><Relationship Id="rId2" Type="http://schemas.openxmlformats.org/officeDocument/2006/relationships/package" Target="../embeddings/Microsoft_Excel_Worksheet91.xlsx"/><Relationship Id="rId1" Type="http://schemas.openxmlformats.org/officeDocument/2006/relationships/themeOverride" Target="../theme/themeOverride92.xml"/></Relationships>
</file>

<file path=ppt/charts/_rels/chart93.xml.rels><?xml version="1.0" encoding="UTF-8" standalone="yes"?>
<Relationships xmlns="http://schemas.openxmlformats.org/package/2006/relationships"><Relationship Id="rId2" Type="http://schemas.openxmlformats.org/officeDocument/2006/relationships/package" Target="../embeddings/Microsoft_Excel_Worksheet92.xlsx"/><Relationship Id="rId1" Type="http://schemas.openxmlformats.org/officeDocument/2006/relationships/themeOverride" Target="../theme/themeOverride93.xml"/></Relationships>
</file>

<file path=ppt/charts/_rels/chart94.xml.rels><?xml version="1.0" encoding="UTF-8" standalone="yes"?>
<Relationships xmlns="http://schemas.openxmlformats.org/package/2006/relationships"><Relationship Id="rId2" Type="http://schemas.openxmlformats.org/officeDocument/2006/relationships/package" Target="../embeddings/Microsoft_Excel_Worksheet93.xlsx"/><Relationship Id="rId1" Type="http://schemas.openxmlformats.org/officeDocument/2006/relationships/themeOverride" Target="../theme/themeOverride94.xml"/></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95.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96.xml"/></Relationships>
</file>

<file path=ppt/charts/_rels/chart97.xml.rels><?xml version="1.0" encoding="UTF-8" standalone="yes"?>
<Relationships xmlns="http://schemas.openxmlformats.org/package/2006/relationships"><Relationship Id="rId2" Type="http://schemas.openxmlformats.org/officeDocument/2006/relationships/package" Target="../embeddings/Microsoft_Excel_Worksheet96.xlsx"/><Relationship Id="rId1" Type="http://schemas.openxmlformats.org/officeDocument/2006/relationships/themeOverride" Target="../theme/themeOverride97.xml"/></Relationships>
</file>

<file path=ppt/charts/_rels/chart98.xml.rels><?xml version="1.0" encoding="UTF-8" standalone="yes"?>
<Relationships xmlns="http://schemas.openxmlformats.org/package/2006/relationships"><Relationship Id="rId2" Type="http://schemas.openxmlformats.org/officeDocument/2006/relationships/package" Target="../embeddings/Microsoft_Excel_Worksheet97.xlsx"/><Relationship Id="rId1" Type="http://schemas.openxmlformats.org/officeDocument/2006/relationships/themeOverride" Target="../theme/themeOverride98.xml"/></Relationships>
</file>

<file path=ppt/charts/_rels/chart99.xml.rels><?xml version="1.0" encoding="UTF-8" standalone="yes"?>
<Relationships xmlns="http://schemas.openxmlformats.org/package/2006/relationships"><Relationship Id="rId2" Type="http://schemas.openxmlformats.org/officeDocument/2006/relationships/package" Target="../embeddings/Microsoft_Excel_Worksheet98.xlsx"/><Relationship Id="rId1" Type="http://schemas.openxmlformats.org/officeDocument/2006/relationships/themeOverride" Target="../theme/themeOverride9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Value Share LY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Value Share LY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Value Share LY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Value Share LY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Y-Values</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14337775-CE97-47A5-995A-D8F28FF72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E81DA776-B393-481D-ACC5-C39C325A96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08420319-A553-43B8-9B1C-9377E9650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71B0A401-CA86-457C-92D5-7032822E2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4624EA6D-00CB-401B-9656-EB6A61535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A3D615C1-E400-43CE-8C8C-A2D29E947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C263C60D-8C96-46DF-9528-CDEF17C483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AA946853-0FAA-47DC-8A8A-CA3F10265F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CB7813FF-6AEA-45F6-B7D4-9189F09B0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24EEAAC1-157C-4091-BF3F-296752ABD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ADEDA060-5103-40FB-8D3B-6C12443E8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74E84EDB-B0B7-41D6-BCD9-8F0E28065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9F3B3094-4FC6-4DF8-97ED-166FF93F2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E293353D-1A4A-429E-8DE2-516FA922B8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F1B0CC64-3FB7-4AB6-B660-550963CE80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2CB5329F-5CD9-4E9C-8E8E-960A038E0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14D0615B-B734-4E79-8D84-F1F2C6724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406971F1-496D-417A-8D0E-0306EF3E9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D7A2B93E-9567-40AB-B793-83182342E3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7718FC84-6657-4DC3-87B5-EEFC84D6B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3F848026-65ED-403C-B9C7-84881DCC3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95DE79A3-89CF-4C2A-966E-4013402BA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607D3391-6079-4D8F-A149-E72715900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3A02DDA7-5B19-42FD-9CA0-10376A321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EE207F9A-4DED-46C0-B55E-D346BEBFAD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F7B93888-3EF3-4395-BB1F-E081B9D8B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38AC1D7E-8198-43EA-9BA3-69CC11A19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2BA7037A-F619-476E-ABF4-86E68B1BF5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E1D2ADAD-EF68-490F-A4E5-6493935DFC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29584711-9648-4469-9B93-8EEAFD4FAF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67318188-57D3-4BB5-A9A1-C3ABEFE4A9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3DBA4BB7-1D5A-4B02-919E-A5587A50C5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C8C2B610-BF64-4F2F-A011-338AB1E9B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4</c:f>
              <c:numCache>
                <c:formatCode>0.0%;\-0.0%;0.0%</c:formatCode>
                <c:ptCount val="33"/>
                <c:pt idx="0">
                  <c:v>1.1662181860086357E-2</c:v>
                </c:pt>
                <c:pt idx="1">
                  <c:v>1.0816439999444288E-2</c:v>
                </c:pt>
                <c:pt idx="2">
                  <c:v>1.7698258327168995E-2</c:v>
                </c:pt>
                <c:pt idx="3">
                  <c:v>-8.7923224759184349E-4</c:v>
                </c:pt>
                <c:pt idx="4">
                  <c:v>-5.6865707332624249E-3</c:v>
                </c:pt>
                <c:pt idx="5">
                  <c:v>2.4985757042278456E-3</c:v>
                </c:pt>
                <c:pt idx="6">
                  <c:v>-3.3819215181130347E-3</c:v>
                </c:pt>
                <c:pt idx="7">
                  <c:v>-8.752621139535316E-3</c:v>
                </c:pt>
                <c:pt idx="8">
                  <c:v>-3.057476414990018E-4</c:v>
                </c:pt>
                <c:pt idx="9">
                  <c:v>-1.0676026102167668E-3</c:v>
                </c:pt>
                <c:pt idx="10">
                  <c:v>8.9592623915902142E-3</c:v>
                </c:pt>
                <c:pt idx="11">
                  <c:v>-7.3357896273603673E-3</c:v>
                </c:pt>
                <c:pt idx="12">
                  <c:v>1.35594851177364E-2</c:v>
                </c:pt>
                <c:pt idx="13">
                  <c:v>7.1177235185152649E-3</c:v>
                </c:pt>
                <c:pt idx="14">
                  <c:v>-8.1083902172321143E-3</c:v>
                </c:pt>
                <c:pt idx="15">
                  <c:v>6.7319320453412823E-4</c:v>
                </c:pt>
                <c:pt idx="16">
                  <c:v>-2.8338471600411336E-3</c:v>
                </c:pt>
                <c:pt idx="17">
                  <c:v>-1.3043768021304969E-3</c:v>
                </c:pt>
                <c:pt idx="18">
                  <c:v>-3.6109732960172974E-3</c:v>
                </c:pt>
                <c:pt idx="19">
                  <c:v>7.8607540923061187E-3</c:v>
                </c:pt>
                <c:pt idx="20">
                  <c:v>-1.3220268089368714E-2</c:v>
                </c:pt>
                <c:pt idx="21">
                  <c:v>3.1281538737684828E-3</c:v>
                </c:pt>
                <c:pt idx="22">
                  <c:v>1.2357208407868935E-2</c:v>
                </c:pt>
                <c:pt idx="23">
                  <c:v>7.1177235185152649E-3</c:v>
                </c:pt>
                <c:pt idx="24">
                  <c:v>-8.1083902172321143E-3</c:v>
                </c:pt>
                <c:pt idx="25">
                  <c:v>6.7319320453412823E-4</c:v>
                </c:pt>
                <c:pt idx="26">
                  <c:v>-2.8338471600411336E-3</c:v>
                </c:pt>
                <c:pt idx="27">
                  <c:v>-1.3043768021304969E-3</c:v>
                </c:pt>
                <c:pt idx="28">
                  <c:v>-3.6109732960172974E-3</c:v>
                </c:pt>
                <c:pt idx="29">
                  <c:v>7.8607540923061187E-3</c:v>
                </c:pt>
                <c:pt idx="30">
                  <c:v>-1.3043768021304969E-3</c:v>
                </c:pt>
                <c:pt idx="31">
                  <c:v>-3.6109732960172974E-3</c:v>
                </c:pt>
                <c:pt idx="32">
                  <c:v>7.8607540923061187E-3</c:v>
                </c:pt>
              </c:numCache>
            </c:numRef>
          </c:xVal>
          <c:yVal>
            <c:numRef>
              <c:f>Sheet1!$B$2:$B$34</c:f>
              <c:numCache>
                <c:formatCode>0.0%;\-0.0%;0.0%</c:formatCode>
                <c:ptCount val="33"/>
                <c:pt idx="0">
                  <c:v>1.6077368263089004E-2</c:v>
                </c:pt>
                <c:pt idx="1">
                  <c:v>4.9888095762964935E-3</c:v>
                </c:pt>
                <c:pt idx="2">
                  <c:v>1.9889894317162454E-2</c:v>
                </c:pt>
                <c:pt idx="3">
                  <c:v>2.3791600338200131E-2</c:v>
                </c:pt>
                <c:pt idx="4">
                  <c:v>-1.5454854750623526E-2</c:v>
                </c:pt>
                <c:pt idx="5">
                  <c:v>-5.6397933119886334E-3</c:v>
                </c:pt>
                <c:pt idx="6">
                  <c:v>-1.593787288957145E-2</c:v>
                </c:pt>
                <c:pt idx="7">
                  <c:v>-1.1812150501305935E-2</c:v>
                </c:pt>
                <c:pt idx="8">
                  <c:v>-1.2009982810354147E-2</c:v>
                </c:pt>
                <c:pt idx="9">
                  <c:v>-1.0909205959135124E-2</c:v>
                </c:pt>
                <c:pt idx="10">
                  <c:v>2.2931981284335864E-2</c:v>
                </c:pt>
                <c:pt idx="11">
                  <c:v>-1.7780339796623496E-3</c:v>
                </c:pt>
                <c:pt idx="12">
                  <c:v>-8.6871564268937995E-4</c:v>
                </c:pt>
                <c:pt idx="13">
                  <c:v>7.4074508528449295E-3</c:v>
                </c:pt>
                <c:pt idx="14">
                  <c:v>-6.445956049093246E-3</c:v>
                </c:pt>
                <c:pt idx="15">
                  <c:v>2.9345873390817095E-3</c:v>
                </c:pt>
                <c:pt idx="16">
                  <c:v>-2.5033423847073549E-3</c:v>
                </c:pt>
                <c:pt idx="17">
                  <c:v>9.5200088515108167E-3</c:v>
                </c:pt>
                <c:pt idx="18">
                  <c:v>9.9891916816288451E-3</c:v>
                </c:pt>
                <c:pt idx="19">
                  <c:v>9.1761724065763661E-3</c:v>
                </c:pt>
                <c:pt idx="20">
                  <c:v>-3.0496378987734406E-2</c:v>
                </c:pt>
                <c:pt idx="21">
                  <c:v>7.9925287452611848E-4</c:v>
                </c:pt>
                <c:pt idx="22">
                  <c:v>-2.0230737247837194E-3</c:v>
                </c:pt>
                <c:pt idx="23">
                  <c:v>7.4074508528449295E-3</c:v>
                </c:pt>
                <c:pt idx="24">
                  <c:v>-6.445956049093246E-3</c:v>
                </c:pt>
                <c:pt idx="25">
                  <c:v>2.9345873390817095E-3</c:v>
                </c:pt>
                <c:pt idx="26">
                  <c:v>-2.5033423847073549E-3</c:v>
                </c:pt>
                <c:pt idx="27">
                  <c:v>9.5200088515108167E-3</c:v>
                </c:pt>
                <c:pt idx="28">
                  <c:v>9.9891916816288451E-3</c:v>
                </c:pt>
                <c:pt idx="29">
                  <c:v>9.1761724065763661E-3</c:v>
                </c:pt>
                <c:pt idx="30">
                  <c:v>9.5200088515108167E-3</c:v>
                </c:pt>
                <c:pt idx="31">
                  <c:v>9.9891916816288451E-3</c:v>
                </c:pt>
                <c:pt idx="32">
                  <c:v>9.1761724065763661E-3</c:v>
                </c:pt>
              </c:numCache>
            </c:numRef>
          </c:yVal>
          <c:bubbleSize>
            <c:numRef>
              <c:f>Sheet1!$C$2:$C$34</c:f>
              <c:numCache>
                <c:formatCode>0.0%;\-0.0%;0.0%</c:formatCode>
                <c:ptCount val="33"/>
                <c:pt idx="0">
                  <c:v>0.20534350317386332</c:v>
                </c:pt>
                <c:pt idx="1">
                  <c:v>0.16449967474779223</c:v>
                </c:pt>
                <c:pt idx="2">
                  <c:v>0.13570937422705509</c:v>
                </c:pt>
                <c:pt idx="3">
                  <c:v>0.13524377358098763</c:v>
                </c:pt>
                <c:pt idx="4">
                  <c:v>0.13450598379583567</c:v>
                </c:pt>
                <c:pt idx="5">
                  <c:v>0.12838465331101265</c:v>
                </c:pt>
                <c:pt idx="6">
                  <c:v>0.12789317668826383</c:v>
                </c:pt>
                <c:pt idx="7">
                  <c:v>0.12598628919541183</c:v>
                </c:pt>
                <c:pt idx="8">
                  <c:v>0.11915710808411799</c:v>
                </c:pt>
                <c:pt idx="9">
                  <c:v>0.11524356147158238</c:v>
                </c:pt>
                <c:pt idx="10">
                  <c:v>0.10995067495830582</c:v>
                </c:pt>
                <c:pt idx="11">
                  <c:v>0.10243243744425988</c:v>
                </c:pt>
                <c:pt idx="12">
                  <c:v>0.10064622312236793</c:v>
                </c:pt>
                <c:pt idx="13">
                  <c:v>9.7816705186919498E-2</c:v>
                </c:pt>
                <c:pt idx="14">
                  <c:v>9.0064390990702486E-2</c:v>
                </c:pt>
                <c:pt idx="15">
                  <c:v>8.6588910005602857E-2</c:v>
                </c:pt>
                <c:pt idx="16">
                  <c:v>8.5773704176114046E-2</c:v>
                </c:pt>
                <c:pt idx="17">
                  <c:v>8.4058948873066877E-2</c:v>
                </c:pt>
                <c:pt idx="18">
                  <c:v>8.267753186260067E-2</c:v>
                </c:pt>
                <c:pt idx="19">
                  <c:v>7.4128876889740694E-2</c:v>
                </c:pt>
                <c:pt idx="20">
                  <c:v>6.8734786726684913E-2</c:v>
                </c:pt>
                <c:pt idx="21">
                  <c:v>5.2203029775927438E-2</c:v>
                </c:pt>
                <c:pt idx="22">
                  <c:v>5.0809302204603793E-2</c:v>
                </c:pt>
                <c:pt idx="23">
                  <c:v>9.7816705186919498E-2</c:v>
                </c:pt>
                <c:pt idx="24">
                  <c:v>9.0064390990702486E-2</c:v>
                </c:pt>
                <c:pt idx="25">
                  <c:v>8.6588910005602857E-2</c:v>
                </c:pt>
                <c:pt idx="26">
                  <c:v>8.5773704176114046E-2</c:v>
                </c:pt>
                <c:pt idx="27">
                  <c:v>8.4058948873066877E-2</c:v>
                </c:pt>
                <c:pt idx="28">
                  <c:v>8.267753186260067E-2</c:v>
                </c:pt>
                <c:pt idx="29">
                  <c:v>7.4128876889740694E-2</c:v>
                </c:pt>
                <c:pt idx="30">
                  <c:v>8.4058948873066877E-2</c:v>
                </c:pt>
                <c:pt idx="31">
                  <c:v>8.267753186260067E-2</c:v>
                </c:pt>
                <c:pt idx="32">
                  <c:v>7.4128876889740694E-2</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 val="autoZero"/>
        <c:crossBetween val="midCat"/>
      </c:valAx>
      <c:valAx>
        <c:axId val="1389927199"/>
        <c:scaling>
          <c:orientation val="minMax"/>
        </c:scaling>
        <c:delete val="0"/>
        <c:axPos val="l"/>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Y-Values</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5BC25211-8F2B-4B10-898F-0427C0BF4E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260A0462-0761-475F-9ED9-C8F659504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029FE432-DB69-42BD-9549-90F921FA3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F6B45849-6FCC-4821-8DC5-B360B5D24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9462B56F-4904-40EC-871F-EB8EADBA3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2AC1E664-3B7D-4C50-B1D3-0121145760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6DCE96E5-A463-4F5C-A5D2-256018E24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884AF588-1C2C-4A71-9ED7-F23D0ECB4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010C3D39-F6AF-407B-AA81-883DF87B5B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3F98B340-D73E-4C2D-8407-C475693B6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94230D8F-1A97-4BE9-86F2-81F6A9B880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08FD6052-67D2-4557-9296-05B0D3A96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CAB86001-EBCB-430B-8C50-CF1102A00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A42C1388-1DBA-4227-BE5F-0AF94A3E8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BDFFCBEE-216D-47D1-B10D-8078FF7972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3382FA0A-F6E4-4EBE-8880-06421480CB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84E8D011-659C-4544-A216-3AD8345F3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D7532D06-D022-4CA1-84A7-723438EBE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BDD15755-0A70-4F72-9F3A-6B9689721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16F82C5B-6250-4787-A34E-283278382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1946C294-AFAF-4D00-B731-786605E33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A2DF9323-2F86-487B-A771-28BFFF9834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4790B728-BB3D-4141-AB4F-DABF083D8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2124761A-0F26-4492-8431-006216A73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239C7DC1-E7C0-4EB0-BB82-126E3304B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0F35CB92-04E5-4475-953D-496788877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873776B0-7B80-4188-8AEA-DEB75E2FF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2A90F3B3-CD03-4DFC-A115-B7D44CE6E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85C1B529-008C-4FC3-B745-FD1651190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03E21D5B-5C3D-4706-B2F6-25E20C5078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6C266D64-0E80-4844-8D60-1B97C162A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4A5DAA52-2A5C-497F-A1F6-BA726ECD4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A5E89018-2FBD-4E29-9BBC-EAD70D5FA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4</c:f>
              <c:numCache>
                <c:formatCode>0.0%;\-0.0%;0.0%</c:formatCode>
                <c:ptCount val="33"/>
                <c:pt idx="0">
                  <c:v>1.1662181860086357E-2</c:v>
                </c:pt>
                <c:pt idx="1">
                  <c:v>1.0816439999444288E-2</c:v>
                </c:pt>
                <c:pt idx="2">
                  <c:v>1.7698258327168995E-2</c:v>
                </c:pt>
                <c:pt idx="3">
                  <c:v>-8.7923224759184349E-4</c:v>
                </c:pt>
                <c:pt idx="4">
                  <c:v>-5.6865707332624249E-3</c:v>
                </c:pt>
                <c:pt idx="5">
                  <c:v>2.4985757042278456E-3</c:v>
                </c:pt>
                <c:pt idx="6">
                  <c:v>-3.3819215181130347E-3</c:v>
                </c:pt>
                <c:pt idx="7">
                  <c:v>-8.752621139535316E-3</c:v>
                </c:pt>
                <c:pt idx="8">
                  <c:v>-3.057476414990018E-4</c:v>
                </c:pt>
                <c:pt idx="9">
                  <c:v>-1.0676026102167668E-3</c:v>
                </c:pt>
                <c:pt idx="10">
                  <c:v>8.9592623915902142E-3</c:v>
                </c:pt>
                <c:pt idx="11">
                  <c:v>-7.3357896273603673E-3</c:v>
                </c:pt>
                <c:pt idx="12">
                  <c:v>1.35594851177364E-2</c:v>
                </c:pt>
                <c:pt idx="13">
                  <c:v>7.1177235185152649E-3</c:v>
                </c:pt>
                <c:pt idx="14">
                  <c:v>-8.1083902172321143E-3</c:v>
                </c:pt>
                <c:pt idx="15">
                  <c:v>6.7319320453412823E-4</c:v>
                </c:pt>
                <c:pt idx="16">
                  <c:v>-2.8338471600411336E-3</c:v>
                </c:pt>
                <c:pt idx="17">
                  <c:v>-1.3043768021304969E-3</c:v>
                </c:pt>
                <c:pt idx="18">
                  <c:v>-3.6109732960172974E-3</c:v>
                </c:pt>
                <c:pt idx="19">
                  <c:v>7.8607540923061187E-3</c:v>
                </c:pt>
                <c:pt idx="20">
                  <c:v>-1.3220268089368714E-2</c:v>
                </c:pt>
                <c:pt idx="21">
                  <c:v>3.1281538737684828E-3</c:v>
                </c:pt>
                <c:pt idx="22">
                  <c:v>1.2357208407868935E-2</c:v>
                </c:pt>
                <c:pt idx="23">
                  <c:v>7.1177235185152649E-3</c:v>
                </c:pt>
                <c:pt idx="24">
                  <c:v>-8.1083902172321143E-3</c:v>
                </c:pt>
                <c:pt idx="25">
                  <c:v>6.7319320453412823E-4</c:v>
                </c:pt>
                <c:pt idx="26">
                  <c:v>-2.8338471600411336E-3</c:v>
                </c:pt>
                <c:pt idx="27">
                  <c:v>-1.3043768021304969E-3</c:v>
                </c:pt>
                <c:pt idx="28">
                  <c:v>-3.6109732960172974E-3</c:v>
                </c:pt>
                <c:pt idx="29">
                  <c:v>7.8607540923061187E-3</c:v>
                </c:pt>
                <c:pt idx="30">
                  <c:v>-1.3043768021304969E-3</c:v>
                </c:pt>
                <c:pt idx="31">
                  <c:v>-3.6109732960172974E-3</c:v>
                </c:pt>
                <c:pt idx="32">
                  <c:v>7.8607540923061187E-3</c:v>
                </c:pt>
              </c:numCache>
            </c:numRef>
          </c:xVal>
          <c:yVal>
            <c:numRef>
              <c:f>Sheet1!$B$2:$B$34</c:f>
              <c:numCache>
                <c:formatCode>0.0%;\-0.0%;0.0%</c:formatCode>
                <c:ptCount val="33"/>
                <c:pt idx="0">
                  <c:v>1.6077368263089004E-2</c:v>
                </c:pt>
                <c:pt idx="1">
                  <c:v>4.9888095762964935E-3</c:v>
                </c:pt>
                <c:pt idx="2">
                  <c:v>1.9889894317162454E-2</c:v>
                </c:pt>
                <c:pt idx="3">
                  <c:v>2.3791600338200131E-2</c:v>
                </c:pt>
                <c:pt idx="4">
                  <c:v>-1.5454854750623526E-2</c:v>
                </c:pt>
                <c:pt idx="5">
                  <c:v>-5.6397933119886334E-3</c:v>
                </c:pt>
                <c:pt idx="6">
                  <c:v>-1.593787288957145E-2</c:v>
                </c:pt>
                <c:pt idx="7">
                  <c:v>-1.1812150501305935E-2</c:v>
                </c:pt>
                <c:pt idx="8">
                  <c:v>-1.2009982810354147E-2</c:v>
                </c:pt>
                <c:pt idx="9">
                  <c:v>-1.0909205959135124E-2</c:v>
                </c:pt>
                <c:pt idx="10">
                  <c:v>2.2931981284335864E-2</c:v>
                </c:pt>
                <c:pt idx="11">
                  <c:v>-1.7780339796623496E-3</c:v>
                </c:pt>
                <c:pt idx="12">
                  <c:v>-8.6871564268937995E-4</c:v>
                </c:pt>
                <c:pt idx="13">
                  <c:v>7.4074508528449295E-3</c:v>
                </c:pt>
                <c:pt idx="14">
                  <c:v>-6.445956049093246E-3</c:v>
                </c:pt>
                <c:pt idx="15">
                  <c:v>2.9345873390817095E-3</c:v>
                </c:pt>
                <c:pt idx="16">
                  <c:v>-2.5033423847073549E-3</c:v>
                </c:pt>
                <c:pt idx="17">
                  <c:v>9.5200088515108167E-3</c:v>
                </c:pt>
                <c:pt idx="18">
                  <c:v>9.9891916816288451E-3</c:v>
                </c:pt>
                <c:pt idx="19">
                  <c:v>9.1761724065763661E-3</c:v>
                </c:pt>
                <c:pt idx="20">
                  <c:v>-3.0496378987734406E-2</c:v>
                </c:pt>
                <c:pt idx="21">
                  <c:v>7.9925287452611848E-4</c:v>
                </c:pt>
                <c:pt idx="22">
                  <c:v>-2.0230737247837194E-3</c:v>
                </c:pt>
                <c:pt idx="23">
                  <c:v>7.4074508528449295E-3</c:v>
                </c:pt>
                <c:pt idx="24">
                  <c:v>-6.445956049093246E-3</c:v>
                </c:pt>
                <c:pt idx="25">
                  <c:v>2.9345873390817095E-3</c:v>
                </c:pt>
                <c:pt idx="26">
                  <c:v>-2.5033423847073549E-3</c:v>
                </c:pt>
                <c:pt idx="27">
                  <c:v>9.5200088515108167E-3</c:v>
                </c:pt>
                <c:pt idx="28">
                  <c:v>9.9891916816288451E-3</c:v>
                </c:pt>
                <c:pt idx="29">
                  <c:v>9.1761724065763661E-3</c:v>
                </c:pt>
                <c:pt idx="30">
                  <c:v>9.5200088515108167E-3</c:v>
                </c:pt>
                <c:pt idx="31">
                  <c:v>9.9891916816288451E-3</c:v>
                </c:pt>
                <c:pt idx="32">
                  <c:v>9.1761724065763661E-3</c:v>
                </c:pt>
              </c:numCache>
            </c:numRef>
          </c:yVal>
          <c:bubbleSize>
            <c:numRef>
              <c:f>Sheet1!$C$2:$C$34</c:f>
              <c:numCache>
                <c:formatCode>0.0%;\-0.0%;0.0%</c:formatCode>
                <c:ptCount val="33"/>
                <c:pt idx="0">
                  <c:v>0.20534350317386332</c:v>
                </c:pt>
                <c:pt idx="1">
                  <c:v>0.16449967474779223</c:v>
                </c:pt>
                <c:pt idx="2">
                  <c:v>0.13570937422705509</c:v>
                </c:pt>
                <c:pt idx="3">
                  <c:v>0.13524377358098763</c:v>
                </c:pt>
                <c:pt idx="4">
                  <c:v>0.13450598379583567</c:v>
                </c:pt>
                <c:pt idx="5">
                  <c:v>0.12838465331101265</c:v>
                </c:pt>
                <c:pt idx="6">
                  <c:v>0.12789317668826383</c:v>
                </c:pt>
                <c:pt idx="7">
                  <c:v>0.12598628919541183</c:v>
                </c:pt>
                <c:pt idx="8">
                  <c:v>0.11915710808411799</c:v>
                </c:pt>
                <c:pt idx="9">
                  <c:v>0.11524356147158238</c:v>
                </c:pt>
                <c:pt idx="10">
                  <c:v>0.10995067495830582</c:v>
                </c:pt>
                <c:pt idx="11">
                  <c:v>0.10243243744425988</c:v>
                </c:pt>
                <c:pt idx="12">
                  <c:v>0.10064622312236793</c:v>
                </c:pt>
                <c:pt idx="13">
                  <c:v>9.7816705186919498E-2</c:v>
                </c:pt>
                <c:pt idx="14">
                  <c:v>9.0064390990702486E-2</c:v>
                </c:pt>
                <c:pt idx="15">
                  <c:v>8.6588910005602857E-2</c:v>
                </c:pt>
                <c:pt idx="16">
                  <c:v>8.5773704176114046E-2</c:v>
                </c:pt>
                <c:pt idx="17">
                  <c:v>8.4058948873066877E-2</c:v>
                </c:pt>
                <c:pt idx="18">
                  <c:v>8.267753186260067E-2</c:v>
                </c:pt>
                <c:pt idx="19">
                  <c:v>7.4128876889740694E-2</c:v>
                </c:pt>
                <c:pt idx="20">
                  <c:v>6.8734786726684913E-2</c:v>
                </c:pt>
                <c:pt idx="21">
                  <c:v>5.2203029775927438E-2</c:v>
                </c:pt>
                <c:pt idx="22">
                  <c:v>5.0809302204603793E-2</c:v>
                </c:pt>
                <c:pt idx="23">
                  <c:v>9.7816705186919498E-2</c:v>
                </c:pt>
                <c:pt idx="24">
                  <c:v>9.0064390990702486E-2</c:v>
                </c:pt>
                <c:pt idx="25">
                  <c:v>8.6588910005602857E-2</c:v>
                </c:pt>
                <c:pt idx="26">
                  <c:v>8.5773704176114046E-2</c:v>
                </c:pt>
                <c:pt idx="27">
                  <c:v>8.4058948873066877E-2</c:v>
                </c:pt>
                <c:pt idx="28">
                  <c:v>8.267753186260067E-2</c:v>
                </c:pt>
                <c:pt idx="29">
                  <c:v>7.4128876889740694E-2</c:v>
                </c:pt>
                <c:pt idx="30">
                  <c:v>8.4058948873066877E-2</c:v>
                </c:pt>
                <c:pt idx="31">
                  <c:v>8.267753186260067E-2</c:v>
                </c:pt>
                <c:pt idx="32">
                  <c:v>7.4128876889740694E-2</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 val="autoZero"/>
        <c:crossBetween val="midCat"/>
      </c:valAx>
      <c:valAx>
        <c:axId val="1389927199"/>
        <c:scaling>
          <c:orientation val="minMax"/>
        </c:scaling>
        <c:delete val="0"/>
        <c:axPos val="l"/>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Y-Values</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2ABF161C-32B0-4B0E-B55F-2813C782B1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AB6853F5-F83E-4A05-87DE-DCD97478EE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86D0A77B-B3EB-49BF-8825-577E34AFE4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F3EE3650-8392-4228-AF1B-566B5B0B21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30CCA57F-B5B5-4CAB-8D13-84AC25144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6305E834-524C-4F20-8D49-1E939F41E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B26DE361-7306-4015-BB35-0148B6F72F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3C373A85-9B0E-4816-B0A9-46C7AF009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3F0B2EB6-CF66-47BD-9A19-3AB925EF7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D8AF1E42-2C6E-429B-8FD6-50635239A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95EE74C2-8BA4-4C47-9E5A-5DF94FABB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1EC5AB48-BF9C-4014-8D1D-0AC1F0DC8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16CBE54C-92F8-41F7-9E85-B639C8DC3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97E4755D-2F78-4A5B-9804-247DBF681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1DFC17D7-D018-4F2C-9F80-CE2788C907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2973DDD4-2593-4AB5-8051-99A09B22D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826C70D1-F251-44F0-9F66-A0E2B22C96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8E135CEA-C03C-4195-AA5B-5FE0BF1C5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4EB60492-A0AD-483E-9C55-36FDF33F3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0BA80B13-418B-43EC-95CB-3AE59E49B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9BA3F2F0-F07B-4C81-83AE-3D2E0D78E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756CBE37-47F3-4B36-A9D2-8A471E6B7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AE7FA6EA-627C-4DD2-8E4C-A3C60C5DB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736A5912-00AC-4923-A5A4-50077271E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05C4BD13-2A3C-4948-A164-AF091EEB2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354F5F95-9502-4A9F-9E84-F394A68B1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5351B4A5-90AF-4938-AEA3-04142EEFF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A31DEA0A-B0B3-4819-AA9F-87730D84A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49EF5AE8-D922-43B8-9915-F27327881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FDF3C727-6C8A-4F0F-9419-C9F6EE863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7BE63CF4-D6CC-461B-B1B0-0A8C98703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619906ED-2C96-4A53-AE96-84F47E804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ED6BD8DC-03C7-4ADE-AEF0-3E82F045D0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4</c:f>
              <c:numCache>
                <c:formatCode>0.0%;\-0.0%;0.0%</c:formatCode>
                <c:ptCount val="33"/>
                <c:pt idx="0">
                  <c:v>1.1662181860086357E-2</c:v>
                </c:pt>
                <c:pt idx="1">
                  <c:v>1.0816439999444288E-2</c:v>
                </c:pt>
                <c:pt idx="2">
                  <c:v>1.7698258327168995E-2</c:v>
                </c:pt>
                <c:pt idx="3">
                  <c:v>-8.7923224759184349E-4</c:v>
                </c:pt>
                <c:pt idx="4">
                  <c:v>-5.6865707332624249E-3</c:v>
                </c:pt>
                <c:pt idx="5">
                  <c:v>2.4985757042278456E-3</c:v>
                </c:pt>
                <c:pt idx="6">
                  <c:v>-3.3819215181130347E-3</c:v>
                </c:pt>
                <c:pt idx="7">
                  <c:v>-8.752621139535316E-3</c:v>
                </c:pt>
                <c:pt idx="8">
                  <c:v>-3.057476414990018E-4</c:v>
                </c:pt>
                <c:pt idx="9">
                  <c:v>-1.0676026102167668E-3</c:v>
                </c:pt>
                <c:pt idx="10">
                  <c:v>8.9592623915902142E-3</c:v>
                </c:pt>
                <c:pt idx="11">
                  <c:v>-7.3357896273603673E-3</c:v>
                </c:pt>
                <c:pt idx="12">
                  <c:v>1.35594851177364E-2</c:v>
                </c:pt>
                <c:pt idx="13">
                  <c:v>7.1177235185152649E-3</c:v>
                </c:pt>
                <c:pt idx="14">
                  <c:v>-8.1083902172321143E-3</c:v>
                </c:pt>
                <c:pt idx="15">
                  <c:v>6.7319320453412823E-4</c:v>
                </c:pt>
                <c:pt idx="16">
                  <c:v>-2.8338471600411336E-3</c:v>
                </c:pt>
                <c:pt idx="17">
                  <c:v>-1.3043768021304969E-3</c:v>
                </c:pt>
                <c:pt idx="18">
                  <c:v>-3.6109732960172974E-3</c:v>
                </c:pt>
                <c:pt idx="19">
                  <c:v>7.8607540923061187E-3</c:v>
                </c:pt>
                <c:pt idx="20">
                  <c:v>-1.3220268089368714E-2</c:v>
                </c:pt>
                <c:pt idx="21">
                  <c:v>3.1281538737684828E-3</c:v>
                </c:pt>
                <c:pt idx="22">
                  <c:v>1.2357208407868935E-2</c:v>
                </c:pt>
                <c:pt idx="23">
                  <c:v>7.1177235185152649E-3</c:v>
                </c:pt>
                <c:pt idx="24">
                  <c:v>-8.1083902172321143E-3</c:v>
                </c:pt>
                <c:pt idx="25">
                  <c:v>6.7319320453412823E-4</c:v>
                </c:pt>
                <c:pt idx="26">
                  <c:v>-2.8338471600411336E-3</c:v>
                </c:pt>
                <c:pt idx="27">
                  <c:v>-1.3043768021304969E-3</c:v>
                </c:pt>
                <c:pt idx="28">
                  <c:v>-3.6109732960172974E-3</c:v>
                </c:pt>
                <c:pt idx="29">
                  <c:v>7.8607540923061187E-3</c:v>
                </c:pt>
                <c:pt idx="30">
                  <c:v>-1.3043768021304969E-3</c:v>
                </c:pt>
                <c:pt idx="31">
                  <c:v>-3.6109732960172974E-3</c:v>
                </c:pt>
                <c:pt idx="32">
                  <c:v>7.8607540923061187E-3</c:v>
                </c:pt>
              </c:numCache>
            </c:numRef>
          </c:xVal>
          <c:yVal>
            <c:numRef>
              <c:f>Sheet1!$B$2:$B$34</c:f>
              <c:numCache>
                <c:formatCode>0.0%;\-0.0%;0.0%</c:formatCode>
                <c:ptCount val="33"/>
                <c:pt idx="0">
                  <c:v>1.6077368263089004E-2</c:v>
                </c:pt>
                <c:pt idx="1">
                  <c:v>4.9888095762964935E-3</c:v>
                </c:pt>
                <c:pt idx="2">
                  <c:v>1.9889894317162454E-2</c:v>
                </c:pt>
                <c:pt idx="3">
                  <c:v>2.3791600338200131E-2</c:v>
                </c:pt>
                <c:pt idx="4">
                  <c:v>-1.5454854750623526E-2</c:v>
                </c:pt>
                <c:pt idx="5">
                  <c:v>-5.6397933119886334E-3</c:v>
                </c:pt>
                <c:pt idx="6">
                  <c:v>-1.593787288957145E-2</c:v>
                </c:pt>
                <c:pt idx="7">
                  <c:v>-1.1812150501305935E-2</c:v>
                </c:pt>
                <c:pt idx="8">
                  <c:v>-1.2009982810354147E-2</c:v>
                </c:pt>
                <c:pt idx="9">
                  <c:v>-1.0909205959135124E-2</c:v>
                </c:pt>
                <c:pt idx="10">
                  <c:v>2.2931981284335864E-2</c:v>
                </c:pt>
                <c:pt idx="11">
                  <c:v>-1.7780339796623496E-3</c:v>
                </c:pt>
                <c:pt idx="12">
                  <c:v>-8.6871564268937995E-4</c:v>
                </c:pt>
                <c:pt idx="13">
                  <c:v>7.4074508528449295E-3</c:v>
                </c:pt>
                <c:pt idx="14">
                  <c:v>-6.445956049093246E-3</c:v>
                </c:pt>
                <c:pt idx="15">
                  <c:v>2.9345873390817095E-3</c:v>
                </c:pt>
                <c:pt idx="16">
                  <c:v>-2.5033423847073549E-3</c:v>
                </c:pt>
                <c:pt idx="17">
                  <c:v>9.5200088515108167E-3</c:v>
                </c:pt>
                <c:pt idx="18">
                  <c:v>9.9891916816288451E-3</c:v>
                </c:pt>
                <c:pt idx="19">
                  <c:v>9.1761724065763661E-3</c:v>
                </c:pt>
                <c:pt idx="20">
                  <c:v>-3.0496378987734406E-2</c:v>
                </c:pt>
                <c:pt idx="21">
                  <c:v>7.9925287452611848E-4</c:v>
                </c:pt>
                <c:pt idx="22">
                  <c:v>-2.0230737247837194E-3</c:v>
                </c:pt>
                <c:pt idx="23">
                  <c:v>7.4074508528449295E-3</c:v>
                </c:pt>
                <c:pt idx="24">
                  <c:v>-6.445956049093246E-3</c:v>
                </c:pt>
                <c:pt idx="25">
                  <c:v>2.9345873390817095E-3</c:v>
                </c:pt>
                <c:pt idx="26">
                  <c:v>-2.5033423847073549E-3</c:v>
                </c:pt>
                <c:pt idx="27">
                  <c:v>9.5200088515108167E-3</c:v>
                </c:pt>
                <c:pt idx="28">
                  <c:v>9.9891916816288451E-3</c:v>
                </c:pt>
                <c:pt idx="29">
                  <c:v>9.1761724065763661E-3</c:v>
                </c:pt>
                <c:pt idx="30">
                  <c:v>9.5200088515108167E-3</c:v>
                </c:pt>
                <c:pt idx="31">
                  <c:v>9.9891916816288451E-3</c:v>
                </c:pt>
                <c:pt idx="32">
                  <c:v>9.1761724065763661E-3</c:v>
                </c:pt>
              </c:numCache>
            </c:numRef>
          </c:yVal>
          <c:bubbleSize>
            <c:numRef>
              <c:f>Sheet1!$C$2:$C$34</c:f>
              <c:numCache>
                <c:formatCode>0.0%;\-0.0%;0.0%</c:formatCode>
                <c:ptCount val="33"/>
                <c:pt idx="0">
                  <c:v>0.20534350317386332</c:v>
                </c:pt>
                <c:pt idx="1">
                  <c:v>0.16449967474779223</c:v>
                </c:pt>
                <c:pt idx="2">
                  <c:v>0.13570937422705509</c:v>
                </c:pt>
                <c:pt idx="3">
                  <c:v>0.13524377358098763</c:v>
                </c:pt>
                <c:pt idx="4">
                  <c:v>0.13450598379583567</c:v>
                </c:pt>
                <c:pt idx="5">
                  <c:v>0.12838465331101265</c:v>
                </c:pt>
                <c:pt idx="6">
                  <c:v>0.12789317668826383</c:v>
                </c:pt>
                <c:pt idx="7">
                  <c:v>0.12598628919541183</c:v>
                </c:pt>
                <c:pt idx="8">
                  <c:v>0.11915710808411799</c:v>
                </c:pt>
                <c:pt idx="9">
                  <c:v>0.11524356147158238</c:v>
                </c:pt>
                <c:pt idx="10">
                  <c:v>0.10995067495830582</c:v>
                </c:pt>
                <c:pt idx="11">
                  <c:v>0.10243243744425988</c:v>
                </c:pt>
                <c:pt idx="12">
                  <c:v>0.10064622312236793</c:v>
                </c:pt>
                <c:pt idx="13">
                  <c:v>9.7816705186919498E-2</c:v>
                </c:pt>
                <c:pt idx="14">
                  <c:v>9.0064390990702486E-2</c:v>
                </c:pt>
                <c:pt idx="15">
                  <c:v>8.6588910005602857E-2</c:v>
                </c:pt>
                <c:pt idx="16">
                  <c:v>8.5773704176114046E-2</c:v>
                </c:pt>
                <c:pt idx="17">
                  <c:v>8.4058948873066877E-2</c:v>
                </c:pt>
                <c:pt idx="18">
                  <c:v>8.267753186260067E-2</c:v>
                </c:pt>
                <c:pt idx="19">
                  <c:v>7.4128876889740694E-2</c:v>
                </c:pt>
                <c:pt idx="20">
                  <c:v>6.8734786726684913E-2</c:v>
                </c:pt>
                <c:pt idx="21">
                  <c:v>5.2203029775927438E-2</c:v>
                </c:pt>
                <c:pt idx="22">
                  <c:v>5.0809302204603793E-2</c:v>
                </c:pt>
                <c:pt idx="23">
                  <c:v>9.7816705186919498E-2</c:v>
                </c:pt>
                <c:pt idx="24">
                  <c:v>9.0064390990702486E-2</c:v>
                </c:pt>
                <c:pt idx="25">
                  <c:v>8.6588910005602857E-2</c:v>
                </c:pt>
                <c:pt idx="26">
                  <c:v>8.5773704176114046E-2</c:v>
                </c:pt>
                <c:pt idx="27">
                  <c:v>8.4058948873066877E-2</c:v>
                </c:pt>
                <c:pt idx="28">
                  <c:v>8.267753186260067E-2</c:v>
                </c:pt>
                <c:pt idx="29">
                  <c:v>7.4128876889740694E-2</c:v>
                </c:pt>
                <c:pt idx="30">
                  <c:v>8.4058948873066877E-2</c:v>
                </c:pt>
                <c:pt idx="31">
                  <c:v>8.267753186260067E-2</c:v>
                </c:pt>
                <c:pt idx="32">
                  <c:v>7.4128876889740694E-2</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 val="autoZero"/>
        <c:crossBetween val="midCat"/>
      </c:valAx>
      <c:valAx>
        <c:axId val="1389927199"/>
        <c:scaling>
          <c:orientation val="minMax"/>
        </c:scaling>
        <c:delete val="0"/>
        <c:axPos val="l"/>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Y-Values</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5109A37B-928D-4D0C-81F5-03C84EF96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1F205BE2-33DE-4B93-8590-451E8ED3B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C9AE125B-EF88-4276-A73C-42C2D0E6EF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0A4CBB37-1E25-4F8C-85B7-2D2D62927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6BFB2665-C4C7-41E4-91B3-B589F0499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71D5C351-8EA7-4221-B0E8-6BE7F885F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82E9CD15-0381-445D-A456-549DAEBE5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3E4BF272-917A-4D37-9DD8-780D48FFD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9ED058A4-528C-4400-9D5F-957197C086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EC0ECECB-8B24-4E4B-AE0B-9857F9494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39987B59-44D5-4A23-A0CC-537A2B9AE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A025EA93-FBA3-44A5-9BAD-7434E5B647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E19EBF00-1C78-4571-A21D-B14863284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0702EF61-67C8-4479-A4B1-A8160EF107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696FA1D3-681E-413E-ADE3-9937B2C3A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71EE34EC-CA8E-4195-BD27-BF2CFBE87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1CE685A1-F445-4445-A2D1-9646B2FE2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1DE3C106-5D79-4BC7-B01B-1D0026C4E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7624CBEF-8799-4780-A794-EA8F98375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8C056091-202B-4216-879E-50F125290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D991BF20-C2FA-414F-8767-E12781967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A5E152C3-8CAC-48C9-A1E1-AED478398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0651A758-DFB0-4FFE-8354-12AC6960D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8C48D609-E5B6-49F5-B614-DFF5355AC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E5BEE26A-198F-4084-9934-85714D877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07F8639C-C249-4FDF-8B01-A1D280010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5799E364-D83A-47FA-BD09-B52FF795E4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433A6FFE-DC98-496B-A731-9FDEDDFF09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B6601CBA-185B-45C2-81C7-2A100B4E33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BA20630D-9537-4279-8E4D-B2B2318B3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77CE0D38-8B64-49EB-8D52-913286EFB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80722CFF-D9FE-4C3E-B52D-F620ACA5BA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2706C2D0-C471-4B74-8DCD-1D9BE2617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4</c:f>
              <c:numCache>
                <c:formatCode>0.0%;\-0.0%;0.0%</c:formatCode>
                <c:ptCount val="33"/>
                <c:pt idx="0">
                  <c:v>1.1662181860086357E-2</c:v>
                </c:pt>
                <c:pt idx="1">
                  <c:v>1.0816439999444288E-2</c:v>
                </c:pt>
                <c:pt idx="2">
                  <c:v>1.7698258327168995E-2</c:v>
                </c:pt>
                <c:pt idx="3">
                  <c:v>-8.7923224759184349E-4</c:v>
                </c:pt>
                <c:pt idx="4">
                  <c:v>-5.6865707332624249E-3</c:v>
                </c:pt>
                <c:pt idx="5">
                  <c:v>2.4985757042278456E-3</c:v>
                </c:pt>
                <c:pt idx="6">
                  <c:v>-3.3819215181130347E-3</c:v>
                </c:pt>
                <c:pt idx="7">
                  <c:v>-8.752621139535316E-3</c:v>
                </c:pt>
                <c:pt idx="8">
                  <c:v>-3.057476414990018E-4</c:v>
                </c:pt>
                <c:pt idx="9">
                  <c:v>-1.0676026102167668E-3</c:v>
                </c:pt>
                <c:pt idx="10">
                  <c:v>8.9592623915902142E-3</c:v>
                </c:pt>
                <c:pt idx="11">
                  <c:v>-7.3357896273603673E-3</c:v>
                </c:pt>
                <c:pt idx="12">
                  <c:v>1.35594851177364E-2</c:v>
                </c:pt>
                <c:pt idx="13">
                  <c:v>7.1177235185152649E-3</c:v>
                </c:pt>
                <c:pt idx="14">
                  <c:v>-8.1083902172321143E-3</c:v>
                </c:pt>
                <c:pt idx="15">
                  <c:v>6.7319320453412823E-4</c:v>
                </c:pt>
                <c:pt idx="16">
                  <c:v>-2.8338471600411336E-3</c:v>
                </c:pt>
                <c:pt idx="17">
                  <c:v>-1.3043768021304969E-3</c:v>
                </c:pt>
                <c:pt idx="18">
                  <c:v>-3.6109732960172974E-3</c:v>
                </c:pt>
                <c:pt idx="19">
                  <c:v>7.8607540923061187E-3</c:v>
                </c:pt>
                <c:pt idx="20">
                  <c:v>-1.3220268089368714E-2</c:v>
                </c:pt>
                <c:pt idx="21">
                  <c:v>3.1281538737684828E-3</c:v>
                </c:pt>
                <c:pt idx="22">
                  <c:v>1.2357208407868935E-2</c:v>
                </c:pt>
                <c:pt idx="23">
                  <c:v>7.1177235185152649E-3</c:v>
                </c:pt>
                <c:pt idx="24">
                  <c:v>-8.1083902172321143E-3</c:v>
                </c:pt>
                <c:pt idx="25">
                  <c:v>6.7319320453412823E-4</c:v>
                </c:pt>
                <c:pt idx="26">
                  <c:v>-2.8338471600411336E-3</c:v>
                </c:pt>
                <c:pt idx="27">
                  <c:v>-1.3043768021304969E-3</c:v>
                </c:pt>
                <c:pt idx="28">
                  <c:v>-3.6109732960172974E-3</c:v>
                </c:pt>
                <c:pt idx="29">
                  <c:v>7.8607540923061187E-3</c:v>
                </c:pt>
                <c:pt idx="30">
                  <c:v>-1.3043768021304969E-3</c:v>
                </c:pt>
                <c:pt idx="31">
                  <c:v>-3.6109732960172974E-3</c:v>
                </c:pt>
                <c:pt idx="32">
                  <c:v>7.8607540923061187E-3</c:v>
                </c:pt>
              </c:numCache>
            </c:numRef>
          </c:xVal>
          <c:yVal>
            <c:numRef>
              <c:f>Sheet1!$B$2:$B$34</c:f>
              <c:numCache>
                <c:formatCode>0.0%;\-0.0%;0.0%</c:formatCode>
                <c:ptCount val="33"/>
                <c:pt idx="0">
                  <c:v>1.6077368263089004E-2</c:v>
                </c:pt>
                <c:pt idx="1">
                  <c:v>4.9888095762964935E-3</c:v>
                </c:pt>
                <c:pt idx="2">
                  <c:v>1.9889894317162454E-2</c:v>
                </c:pt>
                <c:pt idx="3">
                  <c:v>2.3791600338200131E-2</c:v>
                </c:pt>
                <c:pt idx="4">
                  <c:v>-1.5454854750623526E-2</c:v>
                </c:pt>
                <c:pt idx="5">
                  <c:v>-5.6397933119886334E-3</c:v>
                </c:pt>
                <c:pt idx="6">
                  <c:v>-1.593787288957145E-2</c:v>
                </c:pt>
                <c:pt idx="7">
                  <c:v>-1.1812150501305935E-2</c:v>
                </c:pt>
                <c:pt idx="8">
                  <c:v>-1.2009982810354147E-2</c:v>
                </c:pt>
                <c:pt idx="9">
                  <c:v>-1.0909205959135124E-2</c:v>
                </c:pt>
                <c:pt idx="10">
                  <c:v>2.2931981284335864E-2</c:v>
                </c:pt>
                <c:pt idx="11">
                  <c:v>-1.7780339796623496E-3</c:v>
                </c:pt>
                <c:pt idx="12">
                  <c:v>-8.6871564268937995E-4</c:v>
                </c:pt>
                <c:pt idx="13">
                  <c:v>7.4074508528449295E-3</c:v>
                </c:pt>
                <c:pt idx="14">
                  <c:v>-6.445956049093246E-3</c:v>
                </c:pt>
                <c:pt idx="15">
                  <c:v>2.9345873390817095E-3</c:v>
                </c:pt>
                <c:pt idx="16">
                  <c:v>-2.5033423847073549E-3</c:v>
                </c:pt>
                <c:pt idx="17">
                  <c:v>9.5200088515108167E-3</c:v>
                </c:pt>
                <c:pt idx="18">
                  <c:v>9.9891916816288451E-3</c:v>
                </c:pt>
                <c:pt idx="19">
                  <c:v>9.1761724065763661E-3</c:v>
                </c:pt>
                <c:pt idx="20">
                  <c:v>-3.0496378987734406E-2</c:v>
                </c:pt>
                <c:pt idx="21">
                  <c:v>7.9925287452611848E-4</c:v>
                </c:pt>
                <c:pt idx="22">
                  <c:v>-2.0230737247837194E-3</c:v>
                </c:pt>
                <c:pt idx="23">
                  <c:v>7.4074508528449295E-3</c:v>
                </c:pt>
                <c:pt idx="24">
                  <c:v>-6.445956049093246E-3</c:v>
                </c:pt>
                <c:pt idx="25">
                  <c:v>2.9345873390817095E-3</c:v>
                </c:pt>
                <c:pt idx="26">
                  <c:v>-2.5033423847073549E-3</c:v>
                </c:pt>
                <c:pt idx="27">
                  <c:v>9.5200088515108167E-3</c:v>
                </c:pt>
                <c:pt idx="28">
                  <c:v>9.9891916816288451E-3</c:v>
                </c:pt>
                <c:pt idx="29">
                  <c:v>9.1761724065763661E-3</c:v>
                </c:pt>
                <c:pt idx="30">
                  <c:v>9.5200088515108167E-3</c:v>
                </c:pt>
                <c:pt idx="31">
                  <c:v>9.9891916816288451E-3</c:v>
                </c:pt>
                <c:pt idx="32">
                  <c:v>9.1761724065763661E-3</c:v>
                </c:pt>
              </c:numCache>
            </c:numRef>
          </c:yVal>
          <c:bubbleSize>
            <c:numRef>
              <c:f>Sheet1!$C$2:$C$34</c:f>
              <c:numCache>
                <c:formatCode>0.0%;\-0.0%;0.0%</c:formatCode>
                <c:ptCount val="33"/>
                <c:pt idx="0">
                  <c:v>0.20534350317386332</c:v>
                </c:pt>
                <c:pt idx="1">
                  <c:v>0.16449967474779223</c:v>
                </c:pt>
                <c:pt idx="2">
                  <c:v>0.13570937422705509</c:v>
                </c:pt>
                <c:pt idx="3">
                  <c:v>0.13524377358098763</c:v>
                </c:pt>
                <c:pt idx="4">
                  <c:v>0.13450598379583567</c:v>
                </c:pt>
                <c:pt idx="5">
                  <c:v>0.12838465331101265</c:v>
                </c:pt>
                <c:pt idx="6">
                  <c:v>0.12789317668826383</c:v>
                </c:pt>
                <c:pt idx="7">
                  <c:v>0.12598628919541183</c:v>
                </c:pt>
                <c:pt idx="8">
                  <c:v>0.11915710808411799</c:v>
                </c:pt>
                <c:pt idx="9">
                  <c:v>0.11524356147158238</c:v>
                </c:pt>
                <c:pt idx="10">
                  <c:v>0.10995067495830582</c:v>
                </c:pt>
                <c:pt idx="11">
                  <c:v>0.10243243744425988</c:v>
                </c:pt>
                <c:pt idx="12">
                  <c:v>0.10064622312236793</c:v>
                </c:pt>
                <c:pt idx="13">
                  <c:v>9.7816705186919498E-2</c:v>
                </c:pt>
                <c:pt idx="14">
                  <c:v>9.0064390990702486E-2</c:v>
                </c:pt>
                <c:pt idx="15">
                  <c:v>8.6588910005602857E-2</c:v>
                </c:pt>
                <c:pt idx="16">
                  <c:v>8.5773704176114046E-2</c:v>
                </c:pt>
                <c:pt idx="17">
                  <c:v>8.4058948873066877E-2</c:v>
                </c:pt>
                <c:pt idx="18">
                  <c:v>8.267753186260067E-2</c:v>
                </c:pt>
                <c:pt idx="19">
                  <c:v>7.4128876889740694E-2</c:v>
                </c:pt>
                <c:pt idx="20">
                  <c:v>6.8734786726684913E-2</c:v>
                </c:pt>
                <c:pt idx="21">
                  <c:v>5.2203029775927438E-2</c:v>
                </c:pt>
                <c:pt idx="22">
                  <c:v>5.0809302204603793E-2</c:v>
                </c:pt>
                <c:pt idx="23">
                  <c:v>9.7816705186919498E-2</c:v>
                </c:pt>
                <c:pt idx="24">
                  <c:v>9.0064390990702486E-2</c:v>
                </c:pt>
                <c:pt idx="25">
                  <c:v>8.6588910005602857E-2</c:v>
                </c:pt>
                <c:pt idx="26">
                  <c:v>8.5773704176114046E-2</c:v>
                </c:pt>
                <c:pt idx="27">
                  <c:v>8.4058948873066877E-2</c:v>
                </c:pt>
                <c:pt idx="28">
                  <c:v>8.267753186260067E-2</c:v>
                </c:pt>
                <c:pt idx="29">
                  <c:v>7.4128876889740694E-2</c:v>
                </c:pt>
                <c:pt idx="30">
                  <c:v>8.4058948873066877E-2</c:v>
                </c:pt>
                <c:pt idx="31">
                  <c:v>8.267753186260067E-2</c:v>
                </c:pt>
                <c:pt idx="32">
                  <c:v>7.4128876889740694E-2</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 val="autoZero"/>
        <c:crossBetween val="midCat"/>
      </c:valAx>
      <c:valAx>
        <c:axId val="1389927199"/>
        <c:scaling>
          <c:orientation val="minMax"/>
        </c:scaling>
        <c:delete val="0"/>
        <c:axPos val="l"/>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Y-Values</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221FC6A0-6653-4F33-B59A-57C4EE026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D1D90B0E-4C72-495D-8864-2510F2134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AA2F544D-7B62-43AE-A05A-1660EB9C8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63ED9FC9-0062-49CC-B224-DEADD8141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524EB115-EC5C-4E13-9FBE-49BECF020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4B2DE152-A1A3-42CA-B3C9-05AC16A7B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17DE1F0F-BABE-4EE8-955C-0CB0540AA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03CB4937-4F3A-4728-9F3F-EE6770FE7A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04D1D43C-C2C1-47F9-9230-D8E01AE6D2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622F3224-AAD3-4CC9-9EEB-73BEA1D91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0777E07B-4049-4DB0-B5B9-6CADABE9B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2608D6A5-A037-4254-A6E3-82009C3BE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B29EDA8F-4960-4C0C-8405-2FBE0A3E3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F6EC8767-7F2A-4A41-965F-5937B94B7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5CF7DB05-4A83-4113-B70E-7353E6F46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C3DE83EA-D2FF-497D-8FFD-F2989F750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40692448-2DAD-4C72-8E83-7EBA37C15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43A1C38D-6CA7-4A46-AD5F-D38ADED43C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78B0A2FF-5249-4C25-8966-2030AD059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485AF145-6A1A-4BDB-A257-E559A1CE8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B19ACF8C-5D64-4207-8995-0762DF1CF9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A82B897D-4049-47DC-9E1D-1D518B86A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57B0E2F8-9F13-4A05-B88F-CE0672720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7C04D7E3-0559-484D-B49C-B1BBEEC405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CE1132D1-75E3-43EC-8FB4-E8F647AA6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023B69C5-A3CF-421D-A417-2914FDBD8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C8CA132F-264E-44C3-95F8-0070C94C0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725D651B-F437-45EE-AE22-F12945A64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CC14CF47-8F55-43EB-BE30-21BE3065D6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17D685F5-DACB-4EB4-9CCA-7526243CB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73B477AA-B7BD-4BF8-B5EF-C730AA4034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76E0A803-D071-4EF0-9DBF-7D673C0C7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EA18F246-4652-46D0-8DF2-5AB75E339A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4</c:f>
              <c:numCache>
                <c:formatCode>0.0%;\-0.0%;0.0%</c:formatCode>
                <c:ptCount val="33"/>
                <c:pt idx="0">
                  <c:v>1.1662181860086357E-2</c:v>
                </c:pt>
                <c:pt idx="1">
                  <c:v>1.0816439999444288E-2</c:v>
                </c:pt>
                <c:pt idx="2">
                  <c:v>1.7698258327168995E-2</c:v>
                </c:pt>
                <c:pt idx="3">
                  <c:v>-8.7923224759184349E-4</c:v>
                </c:pt>
                <c:pt idx="4">
                  <c:v>-5.6865707332624249E-3</c:v>
                </c:pt>
                <c:pt idx="5">
                  <c:v>2.4985757042278456E-3</c:v>
                </c:pt>
                <c:pt idx="6">
                  <c:v>-3.3819215181130347E-3</c:v>
                </c:pt>
                <c:pt idx="7">
                  <c:v>-8.752621139535316E-3</c:v>
                </c:pt>
                <c:pt idx="8">
                  <c:v>-3.057476414990018E-4</c:v>
                </c:pt>
                <c:pt idx="9">
                  <c:v>-1.0676026102167668E-3</c:v>
                </c:pt>
                <c:pt idx="10">
                  <c:v>8.9592623915902142E-3</c:v>
                </c:pt>
                <c:pt idx="11">
                  <c:v>-7.3357896273603673E-3</c:v>
                </c:pt>
                <c:pt idx="12">
                  <c:v>1.35594851177364E-2</c:v>
                </c:pt>
                <c:pt idx="13">
                  <c:v>7.1177235185152649E-3</c:v>
                </c:pt>
                <c:pt idx="14">
                  <c:v>-8.1083902172321143E-3</c:v>
                </c:pt>
                <c:pt idx="15">
                  <c:v>6.7319320453412823E-4</c:v>
                </c:pt>
                <c:pt idx="16">
                  <c:v>-2.8338471600411336E-3</c:v>
                </c:pt>
                <c:pt idx="17">
                  <c:v>-1.3043768021304969E-3</c:v>
                </c:pt>
                <c:pt idx="18">
                  <c:v>-3.6109732960172974E-3</c:v>
                </c:pt>
                <c:pt idx="19">
                  <c:v>7.8607540923061187E-3</c:v>
                </c:pt>
                <c:pt idx="20">
                  <c:v>-1.3220268089368714E-2</c:v>
                </c:pt>
                <c:pt idx="21">
                  <c:v>3.1281538737684828E-3</c:v>
                </c:pt>
                <c:pt idx="22">
                  <c:v>1.2357208407868935E-2</c:v>
                </c:pt>
                <c:pt idx="23">
                  <c:v>7.1177235185152649E-3</c:v>
                </c:pt>
                <c:pt idx="24">
                  <c:v>-8.1083902172321143E-3</c:v>
                </c:pt>
                <c:pt idx="25">
                  <c:v>6.7319320453412823E-4</c:v>
                </c:pt>
                <c:pt idx="26">
                  <c:v>-2.8338471600411336E-3</c:v>
                </c:pt>
                <c:pt idx="27">
                  <c:v>-1.3043768021304969E-3</c:v>
                </c:pt>
                <c:pt idx="28">
                  <c:v>-3.6109732960172974E-3</c:v>
                </c:pt>
                <c:pt idx="29">
                  <c:v>7.8607540923061187E-3</c:v>
                </c:pt>
                <c:pt idx="30">
                  <c:v>-1.3043768021304969E-3</c:v>
                </c:pt>
                <c:pt idx="31">
                  <c:v>-3.6109732960172974E-3</c:v>
                </c:pt>
                <c:pt idx="32">
                  <c:v>7.8607540923061187E-3</c:v>
                </c:pt>
              </c:numCache>
            </c:numRef>
          </c:xVal>
          <c:yVal>
            <c:numRef>
              <c:f>Sheet1!$B$2:$B$34</c:f>
              <c:numCache>
                <c:formatCode>0.0%;\-0.0%;0.0%</c:formatCode>
                <c:ptCount val="33"/>
                <c:pt idx="0">
                  <c:v>1.6077368263089004E-2</c:v>
                </c:pt>
                <c:pt idx="1">
                  <c:v>4.9888095762964935E-3</c:v>
                </c:pt>
                <c:pt idx="2">
                  <c:v>1.9889894317162454E-2</c:v>
                </c:pt>
                <c:pt idx="3">
                  <c:v>2.3791600338200131E-2</c:v>
                </c:pt>
                <c:pt idx="4">
                  <c:v>-1.5454854750623526E-2</c:v>
                </c:pt>
                <c:pt idx="5">
                  <c:v>-5.6397933119886334E-3</c:v>
                </c:pt>
                <c:pt idx="6">
                  <c:v>-1.593787288957145E-2</c:v>
                </c:pt>
                <c:pt idx="7">
                  <c:v>-1.1812150501305935E-2</c:v>
                </c:pt>
                <c:pt idx="8">
                  <c:v>-1.2009982810354147E-2</c:v>
                </c:pt>
                <c:pt idx="9">
                  <c:v>-1.0909205959135124E-2</c:v>
                </c:pt>
                <c:pt idx="10">
                  <c:v>2.2931981284335864E-2</c:v>
                </c:pt>
                <c:pt idx="11">
                  <c:v>-1.7780339796623496E-3</c:v>
                </c:pt>
                <c:pt idx="12">
                  <c:v>-8.6871564268937995E-4</c:v>
                </c:pt>
                <c:pt idx="13">
                  <c:v>7.4074508528449295E-3</c:v>
                </c:pt>
                <c:pt idx="14">
                  <c:v>-6.445956049093246E-3</c:v>
                </c:pt>
                <c:pt idx="15">
                  <c:v>2.9345873390817095E-3</c:v>
                </c:pt>
                <c:pt idx="16">
                  <c:v>-2.5033423847073549E-3</c:v>
                </c:pt>
                <c:pt idx="17">
                  <c:v>9.5200088515108167E-3</c:v>
                </c:pt>
                <c:pt idx="18">
                  <c:v>9.9891916816288451E-3</c:v>
                </c:pt>
                <c:pt idx="19">
                  <c:v>9.1761724065763661E-3</c:v>
                </c:pt>
                <c:pt idx="20">
                  <c:v>-3.0496378987734406E-2</c:v>
                </c:pt>
                <c:pt idx="21">
                  <c:v>7.9925287452611848E-4</c:v>
                </c:pt>
                <c:pt idx="22">
                  <c:v>-2.0230737247837194E-3</c:v>
                </c:pt>
                <c:pt idx="23">
                  <c:v>7.4074508528449295E-3</c:v>
                </c:pt>
                <c:pt idx="24">
                  <c:v>-6.445956049093246E-3</c:v>
                </c:pt>
                <c:pt idx="25">
                  <c:v>2.9345873390817095E-3</c:v>
                </c:pt>
                <c:pt idx="26">
                  <c:v>-2.5033423847073549E-3</c:v>
                </c:pt>
                <c:pt idx="27">
                  <c:v>9.5200088515108167E-3</c:v>
                </c:pt>
                <c:pt idx="28">
                  <c:v>9.9891916816288451E-3</c:v>
                </c:pt>
                <c:pt idx="29">
                  <c:v>9.1761724065763661E-3</c:v>
                </c:pt>
                <c:pt idx="30">
                  <c:v>9.5200088515108167E-3</c:v>
                </c:pt>
                <c:pt idx="31">
                  <c:v>9.9891916816288451E-3</c:v>
                </c:pt>
                <c:pt idx="32">
                  <c:v>9.1761724065763661E-3</c:v>
                </c:pt>
              </c:numCache>
            </c:numRef>
          </c:yVal>
          <c:bubbleSize>
            <c:numRef>
              <c:f>Sheet1!$C$2:$C$34</c:f>
              <c:numCache>
                <c:formatCode>0.0%;\-0.0%;0.0%</c:formatCode>
                <c:ptCount val="33"/>
                <c:pt idx="0">
                  <c:v>0.20534350317386332</c:v>
                </c:pt>
                <c:pt idx="1">
                  <c:v>0.16449967474779223</c:v>
                </c:pt>
                <c:pt idx="2">
                  <c:v>0.13570937422705509</c:v>
                </c:pt>
                <c:pt idx="3">
                  <c:v>0.13524377358098763</c:v>
                </c:pt>
                <c:pt idx="4">
                  <c:v>0.13450598379583567</c:v>
                </c:pt>
                <c:pt idx="5">
                  <c:v>0.12838465331101265</c:v>
                </c:pt>
                <c:pt idx="6">
                  <c:v>0.12789317668826383</c:v>
                </c:pt>
                <c:pt idx="7">
                  <c:v>0.12598628919541183</c:v>
                </c:pt>
                <c:pt idx="8">
                  <c:v>0.11915710808411799</c:v>
                </c:pt>
                <c:pt idx="9">
                  <c:v>0.11524356147158238</c:v>
                </c:pt>
                <c:pt idx="10">
                  <c:v>0.10995067495830582</c:v>
                </c:pt>
                <c:pt idx="11">
                  <c:v>0.10243243744425988</c:v>
                </c:pt>
                <c:pt idx="12">
                  <c:v>0.10064622312236793</c:v>
                </c:pt>
                <c:pt idx="13">
                  <c:v>9.7816705186919498E-2</c:v>
                </c:pt>
                <c:pt idx="14">
                  <c:v>9.0064390990702486E-2</c:v>
                </c:pt>
                <c:pt idx="15">
                  <c:v>8.6588910005602857E-2</c:v>
                </c:pt>
                <c:pt idx="16">
                  <c:v>8.5773704176114046E-2</c:v>
                </c:pt>
                <c:pt idx="17">
                  <c:v>8.4058948873066877E-2</c:v>
                </c:pt>
                <c:pt idx="18">
                  <c:v>8.267753186260067E-2</c:v>
                </c:pt>
                <c:pt idx="19">
                  <c:v>7.4128876889740694E-2</c:v>
                </c:pt>
                <c:pt idx="20">
                  <c:v>6.8734786726684913E-2</c:v>
                </c:pt>
                <c:pt idx="21">
                  <c:v>5.2203029775927438E-2</c:v>
                </c:pt>
                <c:pt idx="22">
                  <c:v>5.0809302204603793E-2</c:v>
                </c:pt>
                <c:pt idx="23">
                  <c:v>9.7816705186919498E-2</c:v>
                </c:pt>
                <c:pt idx="24">
                  <c:v>9.0064390990702486E-2</c:v>
                </c:pt>
                <c:pt idx="25">
                  <c:v>8.6588910005602857E-2</c:v>
                </c:pt>
                <c:pt idx="26">
                  <c:v>8.5773704176114046E-2</c:v>
                </c:pt>
                <c:pt idx="27">
                  <c:v>8.4058948873066877E-2</c:v>
                </c:pt>
                <c:pt idx="28">
                  <c:v>8.267753186260067E-2</c:v>
                </c:pt>
                <c:pt idx="29">
                  <c:v>7.4128876889740694E-2</c:v>
                </c:pt>
                <c:pt idx="30">
                  <c:v>8.4058948873066877E-2</c:v>
                </c:pt>
                <c:pt idx="31">
                  <c:v>8.267753186260067E-2</c:v>
                </c:pt>
                <c:pt idx="32">
                  <c:v>7.4128876889740694E-2</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 val="autoZero"/>
        <c:crossBetween val="midCat"/>
      </c:valAx>
      <c:valAx>
        <c:axId val="1389927199"/>
        <c:scaling>
          <c:orientation val="minMax"/>
        </c:scaling>
        <c:delete val="0"/>
        <c:axPos val="l"/>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Y-Values</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254A3751-5ED8-4506-BEFB-9DBF60D9F1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F5A7E260-298E-4164-BAF9-0687A9505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2EC6E0D8-7846-4877-A857-4B8C0C28D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5819C5F3-F64E-4DF7-93EE-E64CA912B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9C3E8BC8-01C4-4646-9BBA-5D2DF9A68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B5961FC3-D1E2-479E-AFDA-365358D1A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407C834F-521B-4701-B2F3-EA46D0385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3BB8D37B-ADE6-4095-9BED-FC7352D0E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F976BDA6-6DA0-4A98-875E-ABFD71DAC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129FF21C-79B2-43FB-9AA0-12D6A3398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921AE1C6-2029-483C-9405-D9946EA6DB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C4DCB504-839B-4E01-AB3D-A59C672B8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0F6F3A3A-C754-4839-86AA-CA516E132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9FCC4AB7-5C5B-4E79-A396-047BC622C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5D591EF5-A537-4893-ACCF-3BBA6F95C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0B03C11D-15DE-4A85-BEF0-F812612954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EDFA86E4-EFB2-4A67-9495-72391242F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C9E5055C-D673-4786-B9F9-5CC614DC5A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ABACA685-C72E-4190-8740-56AD1ACC3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2FF219A9-330E-4309-B30A-E22A2C3D3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2A49BF8B-09CF-446B-A17F-23CA8E5F8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35A4C2BE-FA57-44E9-9ACE-A2CEA5D6F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474E7F61-C7F6-4C5E-A160-44BB333F7D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74381AB9-8502-4563-BB21-8C6E7F359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B6B52FDC-C23B-470D-A8FA-25A5CDB0AE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1B0688E1-DDE0-4B43-B752-4DD23E4C00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2D2CA284-04D7-483B-A90F-E452C4EA31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C2EF3AEC-5323-41A2-A6D5-17F99C3D4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3CD9ECAD-46AD-4BBE-81D3-5969A1113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F6427064-6FC1-4F6F-8F00-F538F71F8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108A962A-7C0F-4F46-8DBA-522967847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135EC907-8C52-4BCF-B3E8-C2875C971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F4819480-4B91-491B-8CAF-A2E8AEAF2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4</c:f>
              <c:numCache>
                <c:formatCode>0.0%;\-0.0%;0.0%</c:formatCode>
                <c:ptCount val="33"/>
                <c:pt idx="0">
                  <c:v>1.1662181860086357E-2</c:v>
                </c:pt>
                <c:pt idx="1">
                  <c:v>1.0816439999444288E-2</c:v>
                </c:pt>
                <c:pt idx="2">
                  <c:v>1.7698258327168995E-2</c:v>
                </c:pt>
                <c:pt idx="3">
                  <c:v>-8.7923224759184349E-4</c:v>
                </c:pt>
                <c:pt idx="4">
                  <c:v>-5.6865707332624249E-3</c:v>
                </c:pt>
                <c:pt idx="5">
                  <c:v>2.4985757042278456E-3</c:v>
                </c:pt>
                <c:pt idx="6">
                  <c:v>-3.3819215181130347E-3</c:v>
                </c:pt>
                <c:pt idx="7">
                  <c:v>-8.752621139535316E-3</c:v>
                </c:pt>
                <c:pt idx="8">
                  <c:v>-3.057476414990018E-4</c:v>
                </c:pt>
                <c:pt idx="9">
                  <c:v>-1.0676026102167668E-3</c:v>
                </c:pt>
                <c:pt idx="10">
                  <c:v>8.9592623915902142E-3</c:v>
                </c:pt>
                <c:pt idx="11">
                  <c:v>-7.3357896273603673E-3</c:v>
                </c:pt>
                <c:pt idx="12">
                  <c:v>1.35594851177364E-2</c:v>
                </c:pt>
                <c:pt idx="13">
                  <c:v>7.1177235185152649E-3</c:v>
                </c:pt>
                <c:pt idx="14">
                  <c:v>-8.1083902172321143E-3</c:v>
                </c:pt>
                <c:pt idx="15">
                  <c:v>6.7319320453412823E-4</c:v>
                </c:pt>
                <c:pt idx="16">
                  <c:v>-2.8338471600411336E-3</c:v>
                </c:pt>
                <c:pt idx="17">
                  <c:v>-1.3043768021304969E-3</c:v>
                </c:pt>
                <c:pt idx="18">
                  <c:v>-3.6109732960172974E-3</c:v>
                </c:pt>
                <c:pt idx="19">
                  <c:v>7.8607540923061187E-3</c:v>
                </c:pt>
                <c:pt idx="20">
                  <c:v>-1.3220268089368714E-2</c:v>
                </c:pt>
                <c:pt idx="21">
                  <c:v>3.1281538737684828E-3</c:v>
                </c:pt>
                <c:pt idx="22">
                  <c:v>1.2357208407868935E-2</c:v>
                </c:pt>
                <c:pt idx="23">
                  <c:v>7.1177235185152649E-3</c:v>
                </c:pt>
                <c:pt idx="24">
                  <c:v>-8.1083902172321143E-3</c:v>
                </c:pt>
                <c:pt idx="25">
                  <c:v>6.7319320453412823E-4</c:v>
                </c:pt>
                <c:pt idx="26">
                  <c:v>-2.8338471600411336E-3</c:v>
                </c:pt>
                <c:pt idx="27">
                  <c:v>-1.3043768021304969E-3</c:v>
                </c:pt>
                <c:pt idx="28">
                  <c:v>-3.6109732960172974E-3</c:v>
                </c:pt>
                <c:pt idx="29">
                  <c:v>7.8607540923061187E-3</c:v>
                </c:pt>
                <c:pt idx="30">
                  <c:v>-1.3043768021304969E-3</c:v>
                </c:pt>
                <c:pt idx="31">
                  <c:v>-3.6109732960172974E-3</c:v>
                </c:pt>
                <c:pt idx="32">
                  <c:v>7.8607540923061187E-3</c:v>
                </c:pt>
              </c:numCache>
            </c:numRef>
          </c:xVal>
          <c:yVal>
            <c:numRef>
              <c:f>Sheet1!$B$2:$B$34</c:f>
              <c:numCache>
                <c:formatCode>0.0%;\-0.0%;0.0%</c:formatCode>
                <c:ptCount val="33"/>
                <c:pt idx="0">
                  <c:v>1.6077368263089004E-2</c:v>
                </c:pt>
                <c:pt idx="1">
                  <c:v>4.9888095762964935E-3</c:v>
                </c:pt>
                <c:pt idx="2">
                  <c:v>1.9889894317162454E-2</c:v>
                </c:pt>
                <c:pt idx="3">
                  <c:v>2.3791600338200131E-2</c:v>
                </c:pt>
                <c:pt idx="4">
                  <c:v>-1.5454854750623526E-2</c:v>
                </c:pt>
                <c:pt idx="5">
                  <c:v>-5.6397933119886334E-3</c:v>
                </c:pt>
                <c:pt idx="6">
                  <c:v>-1.593787288957145E-2</c:v>
                </c:pt>
                <c:pt idx="7">
                  <c:v>-1.1812150501305935E-2</c:v>
                </c:pt>
                <c:pt idx="8">
                  <c:v>-1.2009982810354147E-2</c:v>
                </c:pt>
                <c:pt idx="9">
                  <c:v>-1.0909205959135124E-2</c:v>
                </c:pt>
                <c:pt idx="10">
                  <c:v>2.2931981284335864E-2</c:v>
                </c:pt>
                <c:pt idx="11">
                  <c:v>-1.7780339796623496E-3</c:v>
                </c:pt>
                <c:pt idx="12">
                  <c:v>-8.6871564268937995E-4</c:v>
                </c:pt>
                <c:pt idx="13">
                  <c:v>7.4074508528449295E-3</c:v>
                </c:pt>
                <c:pt idx="14">
                  <c:v>-6.445956049093246E-3</c:v>
                </c:pt>
                <c:pt idx="15">
                  <c:v>2.9345873390817095E-3</c:v>
                </c:pt>
                <c:pt idx="16">
                  <c:v>-2.5033423847073549E-3</c:v>
                </c:pt>
                <c:pt idx="17">
                  <c:v>9.5200088515108167E-3</c:v>
                </c:pt>
                <c:pt idx="18">
                  <c:v>9.9891916816288451E-3</c:v>
                </c:pt>
                <c:pt idx="19">
                  <c:v>9.1761724065763661E-3</c:v>
                </c:pt>
                <c:pt idx="20">
                  <c:v>-3.0496378987734406E-2</c:v>
                </c:pt>
                <c:pt idx="21">
                  <c:v>7.9925287452611848E-4</c:v>
                </c:pt>
                <c:pt idx="22">
                  <c:v>-2.0230737247837194E-3</c:v>
                </c:pt>
                <c:pt idx="23">
                  <c:v>7.4074508528449295E-3</c:v>
                </c:pt>
                <c:pt idx="24">
                  <c:v>-6.445956049093246E-3</c:v>
                </c:pt>
                <c:pt idx="25">
                  <c:v>2.9345873390817095E-3</c:v>
                </c:pt>
                <c:pt idx="26">
                  <c:v>-2.5033423847073549E-3</c:v>
                </c:pt>
                <c:pt idx="27">
                  <c:v>9.5200088515108167E-3</c:v>
                </c:pt>
                <c:pt idx="28">
                  <c:v>9.9891916816288451E-3</c:v>
                </c:pt>
                <c:pt idx="29">
                  <c:v>9.1761724065763661E-3</c:v>
                </c:pt>
                <c:pt idx="30">
                  <c:v>9.5200088515108167E-3</c:v>
                </c:pt>
                <c:pt idx="31">
                  <c:v>9.9891916816288451E-3</c:v>
                </c:pt>
                <c:pt idx="32">
                  <c:v>9.1761724065763661E-3</c:v>
                </c:pt>
              </c:numCache>
            </c:numRef>
          </c:yVal>
          <c:bubbleSize>
            <c:numRef>
              <c:f>Sheet1!$C$2:$C$34</c:f>
              <c:numCache>
                <c:formatCode>0.0%;\-0.0%;0.0%</c:formatCode>
                <c:ptCount val="33"/>
                <c:pt idx="0">
                  <c:v>0.20534350317386332</c:v>
                </c:pt>
                <c:pt idx="1">
                  <c:v>0.16449967474779223</c:v>
                </c:pt>
                <c:pt idx="2">
                  <c:v>0.13570937422705509</c:v>
                </c:pt>
                <c:pt idx="3">
                  <c:v>0.13524377358098763</c:v>
                </c:pt>
                <c:pt idx="4">
                  <c:v>0.13450598379583567</c:v>
                </c:pt>
                <c:pt idx="5">
                  <c:v>0.12838465331101265</c:v>
                </c:pt>
                <c:pt idx="6">
                  <c:v>0.12789317668826383</c:v>
                </c:pt>
                <c:pt idx="7">
                  <c:v>0.12598628919541183</c:v>
                </c:pt>
                <c:pt idx="8">
                  <c:v>0.11915710808411799</c:v>
                </c:pt>
                <c:pt idx="9">
                  <c:v>0.11524356147158238</c:v>
                </c:pt>
                <c:pt idx="10">
                  <c:v>0.10995067495830582</c:v>
                </c:pt>
                <c:pt idx="11">
                  <c:v>0.10243243744425988</c:v>
                </c:pt>
                <c:pt idx="12">
                  <c:v>0.10064622312236793</c:v>
                </c:pt>
                <c:pt idx="13">
                  <c:v>9.7816705186919498E-2</c:v>
                </c:pt>
                <c:pt idx="14">
                  <c:v>9.0064390990702486E-2</c:v>
                </c:pt>
                <c:pt idx="15">
                  <c:v>8.6588910005602857E-2</c:v>
                </c:pt>
                <c:pt idx="16">
                  <c:v>8.5773704176114046E-2</c:v>
                </c:pt>
                <c:pt idx="17">
                  <c:v>8.4058948873066877E-2</c:v>
                </c:pt>
                <c:pt idx="18">
                  <c:v>8.267753186260067E-2</c:v>
                </c:pt>
                <c:pt idx="19">
                  <c:v>7.4128876889740694E-2</c:v>
                </c:pt>
                <c:pt idx="20">
                  <c:v>6.8734786726684913E-2</c:v>
                </c:pt>
                <c:pt idx="21">
                  <c:v>5.2203029775927438E-2</c:v>
                </c:pt>
                <c:pt idx="22">
                  <c:v>5.0809302204603793E-2</c:v>
                </c:pt>
                <c:pt idx="23">
                  <c:v>9.7816705186919498E-2</c:v>
                </c:pt>
                <c:pt idx="24">
                  <c:v>9.0064390990702486E-2</c:v>
                </c:pt>
                <c:pt idx="25">
                  <c:v>8.6588910005602857E-2</c:v>
                </c:pt>
                <c:pt idx="26">
                  <c:v>8.5773704176114046E-2</c:v>
                </c:pt>
                <c:pt idx="27">
                  <c:v>8.4058948873066877E-2</c:v>
                </c:pt>
                <c:pt idx="28">
                  <c:v>8.267753186260067E-2</c:v>
                </c:pt>
                <c:pt idx="29">
                  <c:v>7.4128876889740694E-2</c:v>
                </c:pt>
                <c:pt idx="30">
                  <c:v>8.4058948873066877E-2</c:v>
                </c:pt>
                <c:pt idx="31">
                  <c:v>8.267753186260067E-2</c:v>
                </c:pt>
                <c:pt idx="32">
                  <c:v>7.4128876889740694E-2</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 val="autoZero"/>
        <c:crossBetween val="midCat"/>
      </c:valAx>
      <c:valAx>
        <c:axId val="1389927199"/>
        <c:scaling>
          <c:orientation val="minMax"/>
        </c:scaling>
        <c:delete val="0"/>
        <c:axPos val="l"/>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Y-Values</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E33812F8-2E87-4310-82D1-0C73ACEB0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9C021E68-38CA-4EB9-A9B8-C2CDE1858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E3426477-7721-4E9A-9969-55226F3FC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5D9D40C2-ACF5-43C2-BD31-E87783EDF0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DE6FCF49-BF88-443C-BDBF-DB054ED65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85D794E9-B0FB-4350-A67A-36C05629B8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D63104DA-1929-4B3F-9223-2F83D3669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CF58D75A-4231-40E0-9480-51E3E7D38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97C1161D-2D53-4FEE-9081-D95C053BA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468A639B-0ED4-4FFA-8E00-A3C328B53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1BC96BDF-90A4-4958-B6DF-2087211BC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4670AE34-2DED-481E-902E-E49C3B8F1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7A81F4A6-8F60-4BBC-8D99-099AFE4BB0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271BD64C-1D81-475A-BEE7-FA58B9ADF7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75E20597-58A4-4A7A-973B-646E2769E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1340BC30-A557-4358-9C26-4DDF5F073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5090E92A-405D-44B3-9C95-AF36F9CEBB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D6ACB221-494D-4805-99BE-CEE11892E2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3A408503-2EFB-4AA9-B3F1-BB18007A1A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81DF6F92-C521-485F-8AF2-E4C644182F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C356A24A-4A97-4B86-A1BB-0B8C304B7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13844A49-FAE1-4303-B867-54E503127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B6F881BE-7B81-4460-9B46-B713CC545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7CE5AC91-2305-4B14-A752-9E519AA84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C7572A41-9C6C-44A3-B270-98B6E572A8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7F0AA1D8-7BA4-4498-8C00-9F8FBEDE3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6C6738E6-46C0-4B78-936F-91FDFFA59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A5B3EDF1-1D6F-46B6-8422-7AC1C3E434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F9A14BB1-F70E-480F-B0CD-4E487DAD7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F7BC7E38-A842-4BDF-BA24-A84FD724D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944FE919-BA53-4E50-A686-794A78A71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53C73AC3-6747-4F31-98AA-FDAF2AC21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30DEADE8-B60D-447C-A338-FF5360C679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4</c:f>
              <c:numCache>
                <c:formatCode>0.0%;\-0.0%;0.0%</c:formatCode>
                <c:ptCount val="33"/>
                <c:pt idx="0">
                  <c:v>1.1662181860086357E-2</c:v>
                </c:pt>
                <c:pt idx="1">
                  <c:v>1.0816439999444288E-2</c:v>
                </c:pt>
                <c:pt idx="2">
                  <c:v>1.7698258327168995E-2</c:v>
                </c:pt>
                <c:pt idx="3">
                  <c:v>-8.7923224759184349E-4</c:v>
                </c:pt>
                <c:pt idx="4">
                  <c:v>-5.6865707332624249E-3</c:v>
                </c:pt>
                <c:pt idx="5">
                  <c:v>2.4985757042278456E-3</c:v>
                </c:pt>
                <c:pt idx="6">
                  <c:v>-3.3819215181130347E-3</c:v>
                </c:pt>
                <c:pt idx="7">
                  <c:v>-8.752621139535316E-3</c:v>
                </c:pt>
                <c:pt idx="8">
                  <c:v>-3.057476414990018E-4</c:v>
                </c:pt>
                <c:pt idx="9">
                  <c:v>-1.0676026102167668E-3</c:v>
                </c:pt>
                <c:pt idx="10">
                  <c:v>8.9592623915902142E-3</c:v>
                </c:pt>
                <c:pt idx="11">
                  <c:v>-7.3357896273603673E-3</c:v>
                </c:pt>
                <c:pt idx="12">
                  <c:v>1.35594851177364E-2</c:v>
                </c:pt>
                <c:pt idx="13">
                  <c:v>7.1177235185152649E-3</c:v>
                </c:pt>
                <c:pt idx="14">
                  <c:v>-8.1083902172321143E-3</c:v>
                </c:pt>
                <c:pt idx="15">
                  <c:v>6.7319320453412823E-4</c:v>
                </c:pt>
                <c:pt idx="16">
                  <c:v>-2.8338471600411336E-3</c:v>
                </c:pt>
                <c:pt idx="17">
                  <c:v>-1.3043768021304969E-3</c:v>
                </c:pt>
                <c:pt idx="18">
                  <c:v>-3.6109732960172974E-3</c:v>
                </c:pt>
                <c:pt idx="19">
                  <c:v>7.8607540923061187E-3</c:v>
                </c:pt>
                <c:pt idx="20">
                  <c:v>-1.3220268089368714E-2</c:v>
                </c:pt>
                <c:pt idx="21">
                  <c:v>3.1281538737684828E-3</c:v>
                </c:pt>
                <c:pt idx="22">
                  <c:v>1.2357208407868935E-2</c:v>
                </c:pt>
                <c:pt idx="23">
                  <c:v>7.1177235185152649E-3</c:v>
                </c:pt>
                <c:pt idx="24">
                  <c:v>-8.1083902172321143E-3</c:v>
                </c:pt>
                <c:pt idx="25">
                  <c:v>6.7319320453412823E-4</c:v>
                </c:pt>
                <c:pt idx="26">
                  <c:v>-2.8338471600411336E-3</c:v>
                </c:pt>
                <c:pt idx="27">
                  <c:v>-1.3043768021304969E-3</c:v>
                </c:pt>
                <c:pt idx="28">
                  <c:v>-3.6109732960172974E-3</c:v>
                </c:pt>
                <c:pt idx="29">
                  <c:v>7.8607540923061187E-3</c:v>
                </c:pt>
                <c:pt idx="30">
                  <c:v>-1.3043768021304969E-3</c:v>
                </c:pt>
                <c:pt idx="31">
                  <c:v>-3.6109732960172974E-3</c:v>
                </c:pt>
                <c:pt idx="32">
                  <c:v>7.8607540923061187E-3</c:v>
                </c:pt>
              </c:numCache>
            </c:numRef>
          </c:xVal>
          <c:yVal>
            <c:numRef>
              <c:f>Sheet1!$B$2:$B$34</c:f>
              <c:numCache>
                <c:formatCode>0.0%;\-0.0%;0.0%</c:formatCode>
                <c:ptCount val="33"/>
                <c:pt idx="0">
                  <c:v>1.6077368263089004E-2</c:v>
                </c:pt>
                <c:pt idx="1">
                  <c:v>4.9888095762964935E-3</c:v>
                </c:pt>
                <c:pt idx="2">
                  <c:v>1.9889894317162454E-2</c:v>
                </c:pt>
                <c:pt idx="3">
                  <c:v>2.3791600338200131E-2</c:v>
                </c:pt>
                <c:pt idx="4">
                  <c:v>-1.5454854750623526E-2</c:v>
                </c:pt>
                <c:pt idx="5">
                  <c:v>-5.6397933119886334E-3</c:v>
                </c:pt>
                <c:pt idx="6">
                  <c:v>-1.593787288957145E-2</c:v>
                </c:pt>
                <c:pt idx="7">
                  <c:v>-1.1812150501305935E-2</c:v>
                </c:pt>
                <c:pt idx="8">
                  <c:v>-1.2009982810354147E-2</c:v>
                </c:pt>
                <c:pt idx="9">
                  <c:v>-1.0909205959135124E-2</c:v>
                </c:pt>
                <c:pt idx="10">
                  <c:v>2.2931981284335864E-2</c:v>
                </c:pt>
                <c:pt idx="11">
                  <c:v>-1.7780339796623496E-3</c:v>
                </c:pt>
                <c:pt idx="12">
                  <c:v>-8.6871564268937995E-4</c:v>
                </c:pt>
                <c:pt idx="13">
                  <c:v>7.4074508528449295E-3</c:v>
                </c:pt>
                <c:pt idx="14">
                  <c:v>-6.445956049093246E-3</c:v>
                </c:pt>
                <c:pt idx="15">
                  <c:v>2.9345873390817095E-3</c:v>
                </c:pt>
                <c:pt idx="16">
                  <c:v>-2.5033423847073549E-3</c:v>
                </c:pt>
                <c:pt idx="17">
                  <c:v>9.5200088515108167E-3</c:v>
                </c:pt>
                <c:pt idx="18">
                  <c:v>9.9891916816288451E-3</c:v>
                </c:pt>
                <c:pt idx="19">
                  <c:v>9.1761724065763661E-3</c:v>
                </c:pt>
                <c:pt idx="20">
                  <c:v>-3.0496378987734406E-2</c:v>
                </c:pt>
                <c:pt idx="21">
                  <c:v>7.9925287452611848E-4</c:v>
                </c:pt>
                <c:pt idx="22">
                  <c:v>-2.0230737247837194E-3</c:v>
                </c:pt>
                <c:pt idx="23">
                  <c:v>7.4074508528449295E-3</c:v>
                </c:pt>
                <c:pt idx="24">
                  <c:v>-6.445956049093246E-3</c:v>
                </c:pt>
                <c:pt idx="25">
                  <c:v>2.9345873390817095E-3</c:v>
                </c:pt>
                <c:pt idx="26">
                  <c:v>-2.5033423847073549E-3</c:v>
                </c:pt>
                <c:pt idx="27">
                  <c:v>9.5200088515108167E-3</c:v>
                </c:pt>
                <c:pt idx="28">
                  <c:v>9.9891916816288451E-3</c:v>
                </c:pt>
                <c:pt idx="29">
                  <c:v>9.1761724065763661E-3</c:v>
                </c:pt>
                <c:pt idx="30">
                  <c:v>9.5200088515108167E-3</c:v>
                </c:pt>
                <c:pt idx="31">
                  <c:v>9.9891916816288451E-3</c:v>
                </c:pt>
                <c:pt idx="32">
                  <c:v>9.1761724065763661E-3</c:v>
                </c:pt>
              </c:numCache>
            </c:numRef>
          </c:yVal>
          <c:bubbleSize>
            <c:numRef>
              <c:f>Sheet1!$C$2:$C$34</c:f>
              <c:numCache>
                <c:formatCode>0.0%;\-0.0%;0.0%</c:formatCode>
                <c:ptCount val="33"/>
                <c:pt idx="0">
                  <c:v>0.20534350317386332</c:v>
                </c:pt>
                <c:pt idx="1">
                  <c:v>0.16449967474779223</c:v>
                </c:pt>
                <c:pt idx="2">
                  <c:v>0.13570937422705509</c:v>
                </c:pt>
                <c:pt idx="3">
                  <c:v>0.13524377358098763</c:v>
                </c:pt>
                <c:pt idx="4">
                  <c:v>0.13450598379583567</c:v>
                </c:pt>
                <c:pt idx="5">
                  <c:v>0.12838465331101265</c:v>
                </c:pt>
                <c:pt idx="6">
                  <c:v>0.12789317668826383</c:v>
                </c:pt>
                <c:pt idx="7">
                  <c:v>0.12598628919541183</c:v>
                </c:pt>
                <c:pt idx="8">
                  <c:v>0.11915710808411799</c:v>
                </c:pt>
                <c:pt idx="9">
                  <c:v>0.11524356147158238</c:v>
                </c:pt>
                <c:pt idx="10">
                  <c:v>0.10995067495830582</c:v>
                </c:pt>
                <c:pt idx="11">
                  <c:v>0.10243243744425988</c:v>
                </c:pt>
                <c:pt idx="12">
                  <c:v>0.10064622312236793</c:v>
                </c:pt>
                <c:pt idx="13">
                  <c:v>9.7816705186919498E-2</c:v>
                </c:pt>
                <c:pt idx="14">
                  <c:v>9.0064390990702486E-2</c:v>
                </c:pt>
                <c:pt idx="15">
                  <c:v>8.6588910005602857E-2</c:v>
                </c:pt>
                <c:pt idx="16">
                  <c:v>8.5773704176114046E-2</c:v>
                </c:pt>
                <c:pt idx="17">
                  <c:v>8.4058948873066877E-2</c:v>
                </c:pt>
                <c:pt idx="18">
                  <c:v>8.267753186260067E-2</c:v>
                </c:pt>
                <c:pt idx="19">
                  <c:v>7.4128876889740694E-2</c:v>
                </c:pt>
                <c:pt idx="20">
                  <c:v>6.8734786726684913E-2</c:v>
                </c:pt>
                <c:pt idx="21">
                  <c:v>5.2203029775927438E-2</c:v>
                </c:pt>
                <c:pt idx="22">
                  <c:v>5.0809302204603793E-2</c:v>
                </c:pt>
                <c:pt idx="23">
                  <c:v>9.7816705186919498E-2</c:v>
                </c:pt>
                <c:pt idx="24">
                  <c:v>9.0064390990702486E-2</c:v>
                </c:pt>
                <c:pt idx="25">
                  <c:v>8.6588910005602857E-2</c:v>
                </c:pt>
                <c:pt idx="26">
                  <c:v>8.5773704176114046E-2</c:v>
                </c:pt>
                <c:pt idx="27">
                  <c:v>8.4058948873066877E-2</c:v>
                </c:pt>
                <c:pt idx="28">
                  <c:v>8.267753186260067E-2</c:v>
                </c:pt>
                <c:pt idx="29">
                  <c:v>7.4128876889740694E-2</c:v>
                </c:pt>
                <c:pt idx="30">
                  <c:v>8.4058948873066877E-2</c:v>
                </c:pt>
                <c:pt idx="31">
                  <c:v>8.267753186260067E-2</c:v>
                </c:pt>
                <c:pt idx="32">
                  <c:v>7.4128876889740694E-2</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 val="autoZero"/>
        <c:crossBetween val="midCat"/>
      </c:valAx>
      <c:valAx>
        <c:axId val="1389927199"/>
        <c:scaling>
          <c:orientation val="minMax"/>
        </c:scaling>
        <c:delete val="0"/>
        <c:axPos val="l"/>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Y-Values</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9727DCFF-5E00-480B-8443-5C90F2CB46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A3B07F3F-4723-4F76-BC0E-8EB3522CA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491583A9-320F-4D3B-9F9B-EBBBE3EFE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12CD93E3-6EB0-4567-892E-E730296A1D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E15E2D60-44DF-4E8B-B15E-5775DAD73A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13C400ED-1C11-4324-B9A6-13603AF80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FE02FAD8-6298-47B9-9E97-78FFC74223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DC7005FB-4836-4508-8DB3-3B296ACB7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E6524DF0-58BB-4973-B114-F58829AC5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0A478A97-5303-493A-B1A0-102B605E9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F3CFFAFD-FF50-4BCA-B852-9589A19FD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A9A11372-E48A-463E-A5D6-7B7B69794C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0EDC5A17-5411-4298-A919-F345B75E6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E5B925F6-9BF0-4E5D-8A30-B5B73B4A4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4D97B489-76BA-4D18-91EC-6A429DEAA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4C2227D0-2EB1-40D7-B88C-F75AA512A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9E51D7E2-99F8-4C9E-BF11-3DAAEB95E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25DBFFD4-B0BC-4B98-A497-AE20357B3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6BAF19A1-870C-4AE3-BC07-FD9794174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F23F915F-97A6-4E0E-A7D5-C20004472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06B58D66-F147-4118-B414-27CC2D621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98011E4D-7820-4816-96BC-274A94D47D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02467287-811B-48A6-A172-2370FCB69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2C822E2E-B9DE-49B3-9AA7-C81845048E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8F6A4068-2BAB-44E5-AEBF-44B0CA2002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48903C67-E1D3-476B-933B-99A205757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9E6BA894-9614-41FF-A59E-20B763E11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7E52A5D5-8726-4134-B7C2-894A3DD09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E281A96C-BF6B-4C56-9B29-77811FAD2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288D231E-E363-4607-99FA-C190C875C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F1D1FB9D-257D-47B5-A508-D1D3207F07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0277202F-1576-46A0-A013-C9614B726C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E10608AD-0836-422F-A06B-D207C12C31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4</c:f>
              <c:numCache>
                <c:formatCode>0.0%;\-0.0%;0.0%</c:formatCode>
                <c:ptCount val="33"/>
                <c:pt idx="0">
                  <c:v>1.1662181860086357E-2</c:v>
                </c:pt>
                <c:pt idx="1">
                  <c:v>1.0816439999444288E-2</c:v>
                </c:pt>
                <c:pt idx="2">
                  <c:v>1.7698258327168995E-2</c:v>
                </c:pt>
                <c:pt idx="3">
                  <c:v>-8.7923224759184349E-4</c:v>
                </c:pt>
                <c:pt idx="4">
                  <c:v>-5.6865707332624249E-3</c:v>
                </c:pt>
                <c:pt idx="5">
                  <c:v>2.4985757042278456E-3</c:v>
                </c:pt>
                <c:pt idx="6">
                  <c:v>-3.3819215181130347E-3</c:v>
                </c:pt>
                <c:pt idx="7">
                  <c:v>-8.752621139535316E-3</c:v>
                </c:pt>
                <c:pt idx="8">
                  <c:v>-3.057476414990018E-4</c:v>
                </c:pt>
                <c:pt idx="9">
                  <c:v>-1.0676026102167668E-3</c:v>
                </c:pt>
                <c:pt idx="10">
                  <c:v>8.9592623915902142E-3</c:v>
                </c:pt>
                <c:pt idx="11">
                  <c:v>-7.3357896273603673E-3</c:v>
                </c:pt>
                <c:pt idx="12">
                  <c:v>1.35594851177364E-2</c:v>
                </c:pt>
                <c:pt idx="13">
                  <c:v>7.1177235185152649E-3</c:v>
                </c:pt>
                <c:pt idx="14">
                  <c:v>-8.1083902172321143E-3</c:v>
                </c:pt>
                <c:pt idx="15">
                  <c:v>6.7319320453412823E-4</c:v>
                </c:pt>
                <c:pt idx="16">
                  <c:v>-2.8338471600411336E-3</c:v>
                </c:pt>
                <c:pt idx="17">
                  <c:v>-1.3043768021304969E-3</c:v>
                </c:pt>
                <c:pt idx="18">
                  <c:v>-3.6109732960172974E-3</c:v>
                </c:pt>
                <c:pt idx="19">
                  <c:v>7.8607540923061187E-3</c:v>
                </c:pt>
                <c:pt idx="20">
                  <c:v>-1.3220268089368714E-2</c:v>
                </c:pt>
                <c:pt idx="21">
                  <c:v>3.1281538737684828E-3</c:v>
                </c:pt>
                <c:pt idx="22">
                  <c:v>1.2357208407868935E-2</c:v>
                </c:pt>
                <c:pt idx="23">
                  <c:v>7.1177235185152649E-3</c:v>
                </c:pt>
                <c:pt idx="24">
                  <c:v>-8.1083902172321143E-3</c:v>
                </c:pt>
                <c:pt idx="25">
                  <c:v>6.7319320453412823E-4</c:v>
                </c:pt>
                <c:pt idx="26">
                  <c:v>-2.8338471600411336E-3</c:v>
                </c:pt>
                <c:pt idx="27">
                  <c:v>-1.3043768021304969E-3</c:v>
                </c:pt>
                <c:pt idx="28">
                  <c:v>-3.6109732960172974E-3</c:v>
                </c:pt>
                <c:pt idx="29">
                  <c:v>7.8607540923061187E-3</c:v>
                </c:pt>
                <c:pt idx="30">
                  <c:v>-1.3043768021304969E-3</c:v>
                </c:pt>
                <c:pt idx="31">
                  <c:v>-3.6109732960172974E-3</c:v>
                </c:pt>
                <c:pt idx="32">
                  <c:v>7.8607540923061187E-3</c:v>
                </c:pt>
              </c:numCache>
            </c:numRef>
          </c:xVal>
          <c:yVal>
            <c:numRef>
              <c:f>Sheet1!$B$2:$B$34</c:f>
              <c:numCache>
                <c:formatCode>0.0%;\-0.0%;0.0%</c:formatCode>
                <c:ptCount val="33"/>
                <c:pt idx="0">
                  <c:v>1.6077368263089004E-2</c:v>
                </c:pt>
                <c:pt idx="1">
                  <c:v>4.9888095762964935E-3</c:v>
                </c:pt>
                <c:pt idx="2">
                  <c:v>1.9889894317162454E-2</c:v>
                </c:pt>
                <c:pt idx="3">
                  <c:v>2.3791600338200131E-2</c:v>
                </c:pt>
                <c:pt idx="4">
                  <c:v>-1.5454854750623526E-2</c:v>
                </c:pt>
                <c:pt idx="5">
                  <c:v>-5.6397933119886334E-3</c:v>
                </c:pt>
                <c:pt idx="6">
                  <c:v>-1.593787288957145E-2</c:v>
                </c:pt>
                <c:pt idx="7">
                  <c:v>-1.1812150501305935E-2</c:v>
                </c:pt>
                <c:pt idx="8">
                  <c:v>-1.2009982810354147E-2</c:v>
                </c:pt>
                <c:pt idx="9">
                  <c:v>-1.0909205959135124E-2</c:v>
                </c:pt>
                <c:pt idx="10">
                  <c:v>2.2931981284335864E-2</c:v>
                </c:pt>
                <c:pt idx="11">
                  <c:v>-1.7780339796623496E-3</c:v>
                </c:pt>
                <c:pt idx="12">
                  <c:v>-8.6871564268937995E-4</c:v>
                </c:pt>
                <c:pt idx="13">
                  <c:v>7.4074508528449295E-3</c:v>
                </c:pt>
                <c:pt idx="14">
                  <c:v>-6.445956049093246E-3</c:v>
                </c:pt>
                <c:pt idx="15">
                  <c:v>2.9345873390817095E-3</c:v>
                </c:pt>
                <c:pt idx="16">
                  <c:v>-2.5033423847073549E-3</c:v>
                </c:pt>
                <c:pt idx="17">
                  <c:v>9.5200088515108167E-3</c:v>
                </c:pt>
                <c:pt idx="18">
                  <c:v>9.9891916816288451E-3</c:v>
                </c:pt>
                <c:pt idx="19">
                  <c:v>9.1761724065763661E-3</c:v>
                </c:pt>
                <c:pt idx="20">
                  <c:v>-3.0496378987734406E-2</c:v>
                </c:pt>
                <c:pt idx="21">
                  <c:v>7.9925287452611848E-4</c:v>
                </c:pt>
                <c:pt idx="22">
                  <c:v>-2.0230737247837194E-3</c:v>
                </c:pt>
                <c:pt idx="23">
                  <c:v>7.4074508528449295E-3</c:v>
                </c:pt>
                <c:pt idx="24">
                  <c:v>-6.445956049093246E-3</c:v>
                </c:pt>
                <c:pt idx="25">
                  <c:v>2.9345873390817095E-3</c:v>
                </c:pt>
                <c:pt idx="26">
                  <c:v>-2.5033423847073549E-3</c:v>
                </c:pt>
                <c:pt idx="27">
                  <c:v>9.5200088515108167E-3</c:v>
                </c:pt>
                <c:pt idx="28">
                  <c:v>9.9891916816288451E-3</c:v>
                </c:pt>
                <c:pt idx="29">
                  <c:v>9.1761724065763661E-3</c:v>
                </c:pt>
                <c:pt idx="30">
                  <c:v>9.5200088515108167E-3</c:v>
                </c:pt>
                <c:pt idx="31">
                  <c:v>9.9891916816288451E-3</c:v>
                </c:pt>
                <c:pt idx="32">
                  <c:v>9.1761724065763661E-3</c:v>
                </c:pt>
              </c:numCache>
            </c:numRef>
          </c:yVal>
          <c:bubbleSize>
            <c:numRef>
              <c:f>Sheet1!$C$2:$C$34</c:f>
              <c:numCache>
                <c:formatCode>0.0%;\-0.0%;0.0%</c:formatCode>
                <c:ptCount val="33"/>
                <c:pt idx="0">
                  <c:v>0.20534350317386332</c:v>
                </c:pt>
                <c:pt idx="1">
                  <c:v>0.16449967474779223</c:v>
                </c:pt>
                <c:pt idx="2">
                  <c:v>0.13570937422705509</c:v>
                </c:pt>
                <c:pt idx="3">
                  <c:v>0.13524377358098763</c:v>
                </c:pt>
                <c:pt idx="4">
                  <c:v>0.13450598379583567</c:v>
                </c:pt>
                <c:pt idx="5">
                  <c:v>0.12838465331101265</c:v>
                </c:pt>
                <c:pt idx="6">
                  <c:v>0.12789317668826383</c:v>
                </c:pt>
                <c:pt idx="7">
                  <c:v>0.12598628919541183</c:v>
                </c:pt>
                <c:pt idx="8">
                  <c:v>0.11915710808411799</c:v>
                </c:pt>
                <c:pt idx="9">
                  <c:v>0.11524356147158238</c:v>
                </c:pt>
                <c:pt idx="10">
                  <c:v>0.10995067495830582</c:v>
                </c:pt>
                <c:pt idx="11">
                  <c:v>0.10243243744425988</c:v>
                </c:pt>
                <c:pt idx="12">
                  <c:v>0.10064622312236793</c:v>
                </c:pt>
                <c:pt idx="13">
                  <c:v>9.7816705186919498E-2</c:v>
                </c:pt>
                <c:pt idx="14">
                  <c:v>9.0064390990702486E-2</c:v>
                </c:pt>
                <c:pt idx="15">
                  <c:v>8.6588910005602857E-2</c:v>
                </c:pt>
                <c:pt idx="16">
                  <c:v>8.5773704176114046E-2</c:v>
                </c:pt>
                <c:pt idx="17">
                  <c:v>8.4058948873066877E-2</c:v>
                </c:pt>
                <c:pt idx="18">
                  <c:v>8.267753186260067E-2</c:v>
                </c:pt>
                <c:pt idx="19">
                  <c:v>7.4128876889740694E-2</c:v>
                </c:pt>
                <c:pt idx="20">
                  <c:v>6.8734786726684913E-2</c:v>
                </c:pt>
                <c:pt idx="21">
                  <c:v>5.2203029775927438E-2</c:v>
                </c:pt>
                <c:pt idx="22">
                  <c:v>5.0809302204603793E-2</c:v>
                </c:pt>
                <c:pt idx="23">
                  <c:v>9.7816705186919498E-2</c:v>
                </c:pt>
                <c:pt idx="24">
                  <c:v>9.0064390990702486E-2</c:v>
                </c:pt>
                <c:pt idx="25">
                  <c:v>8.6588910005602857E-2</c:v>
                </c:pt>
                <c:pt idx="26">
                  <c:v>8.5773704176114046E-2</c:v>
                </c:pt>
                <c:pt idx="27">
                  <c:v>8.4058948873066877E-2</c:v>
                </c:pt>
                <c:pt idx="28">
                  <c:v>8.267753186260067E-2</c:v>
                </c:pt>
                <c:pt idx="29">
                  <c:v>7.4128876889740694E-2</c:v>
                </c:pt>
                <c:pt idx="30">
                  <c:v>8.4058948873066877E-2</c:v>
                </c:pt>
                <c:pt idx="31">
                  <c:v>8.267753186260067E-2</c:v>
                </c:pt>
                <c:pt idx="32">
                  <c:v>7.4128876889740694E-2</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 val="autoZero"/>
        <c:crossBetween val="midCat"/>
      </c:valAx>
      <c:valAx>
        <c:axId val="1389927199"/>
        <c:scaling>
          <c:orientation val="minMax"/>
        </c:scaling>
        <c:delete val="0"/>
        <c:axPos val="l"/>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Y-Values</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ABFA9077-EDDA-4BCE-B4B6-B15A0061E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0C9A9B39-11F4-4018-B6EA-A603E2E72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19836E42-D574-4813-9A2B-EE8C00C15B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99A5595B-9533-483C-A0C2-03CF8A22C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99C47504-90BC-43D4-9F05-747D6082C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4EBB5AD5-F522-4D4E-BC3C-A85EBF3412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F3E93FC3-6217-4CE2-A5B9-100343F1D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F996BA63-854D-47AB-B47D-D29BD26E52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44FBAB79-8592-41B0-828E-6C789604E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76913D1F-5498-4565-ADDC-2D90A12D73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50E4F4A7-470B-4E21-BD0E-2ED6EE66B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9A65F182-69DA-4475-8201-A00666B0E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9C617BF6-B958-41A5-8D07-3D10EDD4F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A7ED5263-0466-4559-9362-123BBEB96C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00DB8719-878A-4E9F-A11C-3D4E855CC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76852286-49DD-41B7-8528-DCE7DBF92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56ACDD5A-1F4A-4DC4-A067-11D231B97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B4128114-1DF6-48BC-AD62-5A78E5416D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8BB93228-7F8E-45DA-99EF-6B2B3B8D8F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AC183526-B647-4122-9606-00C9150C8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BDE4017D-DB8D-43C0-B3CA-1E0EC99F9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C861183F-203A-40CC-AC60-72DCF45B7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EE79FE5E-C60F-4BC9-BA67-B02B4FCB8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52116759-AE84-4881-9D40-13257778D6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20688BC5-B104-4152-8B75-1544B60A8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515ABF6F-A41F-4E3F-8CE1-F27D9653C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B9670472-A410-45C2-A223-13BBE673F2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BE96B09A-E603-4656-96AE-3C24DED6C0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9A1D5C74-EB71-49E4-BCE1-9D881193D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396EA576-B11D-493C-8F33-43BB712E7D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63F3CCD8-636B-4666-B9F3-12B427209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ABF2DB80-2755-454F-A4D9-8BC014688D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63E9DD98-3052-4C77-86F2-9E17407602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4</c:f>
              <c:numCache>
                <c:formatCode>0.0%;\-0.0%;0.0%</c:formatCode>
                <c:ptCount val="33"/>
                <c:pt idx="0">
                  <c:v>1.1662181860086357E-2</c:v>
                </c:pt>
                <c:pt idx="1">
                  <c:v>1.0816439999444288E-2</c:v>
                </c:pt>
                <c:pt idx="2">
                  <c:v>1.7698258327168995E-2</c:v>
                </c:pt>
                <c:pt idx="3">
                  <c:v>-8.7923224759184349E-4</c:v>
                </c:pt>
                <c:pt idx="4">
                  <c:v>-5.6865707332624249E-3</c:v>
                </c:pt>
                <c:pt idx="5">
                  <c:v>2.4985757042278456E-3</c:v>
                </c:pt>
                <c:pt idx="6">
                  <c:v>-3.3819215181130347E-3</c:v>
                </c:pt>
                <c:pt idx="7">
                  <c:v>-8.752621139535316E-3</c:v>
                </c:pt>
                <c:pt idx="8">
                  <c:v>-3.057476414990018E-4</c:v>
                </c:pt>
                <c:pt idx="9">
                  <c:v>-1.0676026102167668E-3</c:v>
                </c:pt>
                <c:pt idx="10">
                  <c:v>8.9592623915902142E-3</c:v>
                </c:pt>
                <c:pt idx="11">
                  <c:v>-7.3357896273603673E-3</c:v>
                </c:pt>
                <c:pt idx="12">
                  <c:v>1.35594851177364E-2</c:v>
                </c:pt>
                <c:pt idx="13">
                  <c:v>7.1177235185152649E-3</c:v>
                </c:pt>
                <c:pt idx="14">
                  <c:v>-8.1083902172321143E-3</c:v>
                </c:pt>
                <c:pt idx="15">
                  <c:v>6.7319320453412823E-4</c:v>
                </c:pt>
                <c:pt idx="16">
                  <c:v>-2.8338471600411336E-3</c:v>
                </c:pt>
                <c:pt idx="17">
                  <c:v>-1.3043768021304969E-3</c:v>
                </c:pt>
                <c:pt idx="18">
                  <c:v>-3.6109732960172974E-3</c:v>
                </c:pt>
                <c:pt idx="19">
                  <c:v>7.8607540923061187E-3</c:v>
                </c:pt>
                <c:pt idx="20">
                  <c:v>-1.3220268089368714E-2</c:v>
                </c:pt>
                <c:pt idx="21">
                  <c:v>3.1281538737684828E-3</c:v>
                </c:pt>
                <c:pt idx="22">
                  <c:v>1.2357208407868935E-2</c:v>
                </c:pt>
                <c:pt idx="23">
                  <c:v>7.1177235185152649E-3</c:v>
                </c:pt>
                <c:pt idx="24">
                  <c:v>-8.1083902172321143E-3</c:v>
                </c:pt>
                <c:pt idx="25">
                  <c:v>6.7319320453412823E-4</c:v>
                </c:pt>
                <c:pt idx="26">
                  <c:v>-2.8338471600411336E-3</c:v>
                </c:pt>
                <c:pt idx="27">
                  <c:v>-1.3043768021304969E-3</c:v>
                </c:pt>
                <c:pt idx="28">
                  <c:v>-3.6109732960172974E-3</c:v>
                </c:pt>
                <c:pt idx="29">
                  <c:v>7.8607540923061187E-3</c:v>
                </c:pt>
                <c:pt idx="30">
                  <c:v>-1.3043768021304969E-3</c:v>
                </c:pt>
                <c:pt idx="31">
                  <c:v>-3.6109732960172974E-3</c:v>
                </c:pt>
                <c:pt idx="32">
                  <c:v>7.8607540923061187E-3</c:v>
                </c:pt>
              </c:numCache>
            </c:numRef>
          </c:xVal>
          <c:yVal>
            <c:numRef>
              <c:f>Sheet1!$B$2:$B$34</c:f>
              <c:numCache>
                <c:formatCode>0.0%;\-0.0%;0.0%</c:formatCode>
                <c:ptCount val="33"/>
                <c:pt idx="0">
                  <c:v>1.6077368263089004E-2</c:v>
                </c:pt>
                <c:pt idx="1">
                  <c:v>4.9888095762964935E-3</c:v>
                </c:pt>
                <c:pt idx="2">
                  <c:v>1.9889894317162454E-2</c:v>
                </c:pt>
                <c:pt idx="3">
                  <c:v>2.3791600338200131E-2</c:v>
                </c:pt>
                <c:pt idx="4">
                  <c:v>-1.5454854750623526E-2</c:v>
                </c:pt>
                <c:pt idx="5">
                  <c:v>-5.6397933119886334E-3</c:v>
                </c:pt>
                <c:pt idx="6">
                  <c:v>-1.593787288957145E-2</c:v>
                </c:pt>
                <c:pt idx="7">
                  <c:v>-1.1812150501305935E-2</c:v>
                </c:pt>
                <c:pt idx="8">
                  <c:v>-1.2009982810354147E-2</c:v>
                </c:pt>
                <c:pt idx="9">
                  <c:v>-1.0909205959135124E-2</c:v>
                </c:pt>
                <c:pt idx="10">
                  <c:v>2.2931981284335864E-2</c:v>
                </c:pt>
                <c:pt idx="11">
                  <c:v>-1.7780339796623496E-3</c:v>
                </c:pt>
                <c:pt idx="12">
                  <c:v>-8.6871564268937995E-4</c:v>
                </c:pt>
                <c:pt idx="13">
                  <c:v>7.4074508528449295E-3</c:v>
                </c:pt>
                <c:pt idx="14">
                  <c:v>-6.445956049093246E-3</c:v>
                </c:pt>
                <c:pt idx="15">
                  <c:v>2.9345873390817095E-3</c:v>
                </c:pt>
                <c:pt idx="16">
                  <c:v>-2.5033423847073549E-3</c:v>
                </c:pt>
                <c:pt idx="17">
                  <c:v>9.5200088515108167E-3</c:v>
                </c:pt>
                <c:pt idx="18">
                  <c:v>9.9891916816288451E-3</c:v>
                </c:pt>
                <c:pt idx="19">
                  <c:v>9.1761724065763661E-3</c:v>
                </c:pt>
                <c:pt idx="20">
                  <c:v>-3.0496378987734406E-2</c:v>
                </c:pt>
                <c:pt idx="21">
                  <c:v>7.9925287452611848E-4</c:v>
                </c:pt>
                <c:pt idx="22">
                  <c:v>-2.0230737247837194E-3</c:v>
                </c:pt>
                <c:pt idx="23">
                  <c:v>7.4074508528449295E-3</c:v>
                </c:pt>
                <c:pt idx="24">
                  <c:v>-6.445956049093246E-3</c:v>
                </c:pt>
                <c:pt idx="25">
                  <c:v>2.9345873390817095E-3</c:v>
                </c:pt>
                <c:pt idx="26">
                  <c:v>-2.5033423847073549E-3</c:v>
                </c:pt>
                <c:pt idx="27">
                  <c:v>9.5200088515108167E-3</c:v>
                </c:pt>
                <c:pt idx="28">
                  <c:v>9.9891916816288451E-3</c:v>
                </c:pt>
                <c:pt idx="29">
                  <c:v>9.1761724065763661E-3</c:v>
                </c:pt>
                <c:pt idx="30">
                  <c:v>9.5200088515108167E-3</c:v>
                </c:pt>
                <c:pt idx="31">
                  <c:v>9.9891916816288451E-3</c:v>
                </c:pt>
                <c:pt idx="32">
                  <c:v>9.1761724065763661E-3</c:v>
                </c:pt>
              </c:numCache>
            </c:numRef>
          </c:yVal>
          <c:bubbleSize>
            <c:numRef>
              <c:f>Sheet1!$C$2:$C$34</c:f>
              <c:numCache>
                <c:formatCode>0.0%;\-0.0%;0.0%</c:formatCode>
                <c:ptCount val="33"/>
                <c:pt idx="0">
                  <c:v>0.20534350317386332</c:v>
                </c:pt>
                <c:pt idx="1">
                  <c:v>0.16449967474779223</c:v>
                </c:pt>
                <c:pt idx="2">
                  <c:v>0.13570937422705509</c:v>
                </c:pt>
                <c:pt idx="3">
                  <c:v>0.13524377358098763</c:v>
                </c:pt>
                <c:pt idx="4">
                  <c:v>0.13450598379583567</c:v>
                </c:pt>
                <c:pt idx="5">
                  <c:v>0.12838465331101265</c:v>
                </c:pt>
                <c:pt idx="6">
                  <c:v>0.12789317668826383</c:v>
                </c:pt>
                <c:pt idx="7">
                  <c:v>0.12598628919541183</c:v>
                </c:pt>
                <c:pt idx="8">
                  <c:v>0.11915710808411799</c:v>
                </c:pt>
                <c:pt idx="9">
                  <c:v>0.11524356147158238</c:v>
                </c:pt>
                <c:pt idx="10">
                  <c:v>0.10995067495830582</c:v>
                </c:pt>
                <c:pt idx="11">
                  <c:v>0.10243243744425988</c:v>
                </c:pt>
                <c:pt idx="12">
                  <c:v>0.10064622312236793</c:v>
                </c:pt>
                <c:pt idx="13">
                  <c:v>9.7816705186919498E-2</c:v>
                </c:pt>
                <c:pt idx="14">
                  <c:v>9.0064390990702486E-2</c:v>
                </c:pt>
                <c:pt idx="15">
                  <c:v>8.6588910005602857E-2</c:v>
                </c:pt>
                <c:pt idx="16">
                  <c:v>8.5773704176114046E-2</c:v>
                </c:pt>
                <c:pt idx="17">
                  <c:v>8.4058948873066877E-2</c:v>
                </c:pt>
                <c:pt idx="18">
                  <c:v>8.267753186260067E-2</c:v>
                </c:pt>
                <c:pt idx="19">
                  <c:v>7.4128876889740694E-2</c:v>
                </c:pt>
                <c:pt idx="20">
                  <c:v>6.8734786726684913E-2</c:v>
                </c:pt>
                <c:pt idx="21">
                  <c:v>5.2203029775927438E-2</c:v>
                </c:pt>
                <c:pt idx="22">
                  <c:v>5.0809302204603793E-2</c:v>
                </c:pt>
                <c:pt idx="23">
                  <c:v>9.7816705186919498E-2</c:v>
                </c:pt>
                <c:pt idx="24">
                  <c:v>9.0064390990702486E-2</c:v>
                </c:pt>
                <c:pt idx="25">
                  <c:v>8.6588910005602857E-2</c:v>
                </c:pt>
                <c:pt idx="26">
                  <c:v>8.5773704176114046E-2</c:v>
                </c:pt>
                <c:pt idx="27">
                  <c:v>8.4058948873066877E-2</c:v>
                </c:pt>
                <c:pt idx="28">
                  <c:v>8.267753186260067E-2</c:v>
                </c:pt>
                <c:pt idx="29">
                  <c:v>7.4128876889740694E-2</c:v>
                </c:pt>
                <c:pt idx="30">
                  <c:v>8.4058948873066877E-2</c:v>
                </c:pt>
                <c:pt idx="31">
                  <c:v>8.267753186260067E-2</c:v>
                </c:pt>
                <c:pt idx="32">
                  <c:v>7.4128876889740694E-2</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 val="autoZero"/>
        <c:crossBetween val="midCat"/>
      </c:valAx>
      <c:valAx>
        <c:axId val="1389927199"/>
        <c:scaling>
          <c:orientation val="minMax"/>
        </c:scaling>
        <c:delete val="0"/>
        <c:axPos val="l"/>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Y-Values</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648600E8-DC08-46D7-9D51-4845941AD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7738B51A-EE4F-4183-8A1D-3801F3EE2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4BC7F1B5-B750-4DD1-8862-E28BB0E68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8671B08A-93B7-49BB-A53E-63A1DA79DA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342200ED-4F9A-4EAC-95B5-DCF621CF8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5AE128BB-663C-47ED-9EC3-7D66B77F1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9316C749-50C0-45AD-B8FF-8798454F5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9004A07D-24E9-4D7D-BFC7-C8FD87C086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B6778C5F-667E-4E8F-A31A-73EE88D78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975C6FF3-34B8-4EAF-A52A-96588FDFE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9D34DDFC-CF29-499F-A4B7-5212CA5DE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9F377BF3-F06B-4BA8-A03E-D08B96145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404EBA6C-DFA9-4A75-846C-F40A024FD7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5A27B9C1-011A-41CF-8CC2-064D4179D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78424BED-3F5E-45E7-9788-4C4B6A4B1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2AEDF605-C0F6-4F18-AA32-C8CAF88DC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8257CB4F-0C4E-4D30-B15F-A3F3DEF99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F5958C6D-EA9E-4923-8FB8-0E0E542C2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84E81D62-F4D8-483C-BA4B-E906CDE41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55D45E33-61B4-4BC2-BEE3-EC84E1407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1457F7E7-B520-4148-AF16-DE92CB9DE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5B6E23D1-6B18-4C5F-A517-262A5FBBB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6C7A0D65-9CFE-41B4-843A-7FF2D0FDD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D41309CE-96D1-44AB-B91E-BB991EB010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63BD6D66-041D-47D3-AC98-4DEF1250B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FB3DD83A-AF9F-481F-BA1A-30EF5C585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F80A1720-91A4-4039-B3E2-49C77356C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3B9DFD90-E89B-4B1A-AEAD-A05C6DBD36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D1857912-2593-4A64-97CC-BA408A69E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0A517EC3-496C-4A94-B739-73BB24C83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B2BD8A89-AA0F-4BDC-B331-B1B03738D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782BFDFF-D9F3-46E5-B2AC-6D199B945E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BEF4468B-1AF9-4740-B72F-16A02655B5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4</c:f>
              <c:numCache>
                <c:formatCode>0.0%;\-0.0%;0.0%</c:formatCode>
                <c:ptCount val="33"/>
                <c:pt idx="0">
                  <c:v>1.1662181860086357E-2</c:v>
                </c:pt>
                <c:pt idx="1">
                  <c:v>1.0816439999444288E-2</c:v>
                </c:pt>
                <c:pt idx="2">
                  <c:v>1.7698258327168995E-2</c:v>
                </c:pt>
                <c:pt idx="3">
                  <c:v>-8.7923224759184349E-4</c:v>
                </c:pt>
                <c:pt idx="4">
                  <c:v>-5.6865707332624249E-3</c:v>
                </c:pt>
                <c:pt idx="5">
                  <c:v>2.4985757042278456E-3</c:v>
                </c:pt>
                <c:pt idx="6">
                  <c:v>-3.3819215181130347E-3</c:v>
                </c:pt>
                <c:pt idx="7">
                  <c:v>-8.752621139535316E-3</c:v>
                </c:pt>
                <c:pt idx="8">
                  <c:v>-3.057476414990018E-4</c:v>
                </c:pt>
                <c:pt idx="9">
                  <c:v>-1.0676026102167668E-3</c:v>
                </c:pt>
                <c:pt idx="10">
                  <c:v>8.9592623915902142E-3</c:v>
                </c:pt>
                <c:pt idx="11">
                  <c:v>-7.3357896273603673E-3</c:v>
                </c:pt>
                <c:pt idx="12">
                  <c:v>1.35594851177364E-2</c:v>
                </c:pt>
                <c:pt idx="13">
                  <c:v>7.1177235185152649E-3</c:v>
                </c:pt>
                <c:pt idx="14">
                  <c:v>-8.1083902172321143E-3</c:v>
                </c:pt>
                <c:pt idx="15">
                  <c:v>6.7319320453412823E-4</c:v>
                </c:pt>
                <c:pt idx="16">
                  <c:v>-2.8338471600411336E-3</c:v>
                </c:pt>
                <c:pt idx="17">
                  <c:v>-1.3043768021304969E-3</c:v>
                </c:pt>
                <c:pt idx="18">
                  <c:v>-3.6109732960172974E-3</c:v>
                </c:pt>
                <c:pt idx="19">
                  <c:v>7.8607540923061187E-3</c:v>
                </c:pt>
                <c:pt idx="20">
                  <c:v>-1.3220268089368714E-2</c:v>
                </c:pt>
                <c:pt idx="21">
                  <c:v>3.1281538737684828E-3</c:v>
                </c:pt>
                <c:pt idx="22">
                  <c:v>1.2357208407868935E-2</c:v>
                </c:pt>
                <c:pt idx="23">
                  <c:v>7.1177235185152649E-3</c:v>
                </c:pt>
                <c:pt idx="24">
                  <c:v>-8.1083902172321143E-3</c:v>
                </c:pt>
                <c:pt idx="25">
                  <c:v>6.7319320453412823E-4</c:v>
                </c:pt>
                <c:pt idx="26">
                  <c:v>-2.8338471600411336E-3</c:v>
                </c:pt>
                <c:pt idx="27">
                  <c:v>-1.3043768021304969E-3</c:v>
                </c:pt>
                <c:pt idx="28">
                  <c:v>-3.6109732960172974E-3</c:v>
                </c:pt>
                <c:pt idx="29">
                  <c:v>7.8607540923061187E-3</c:v>
                </c:pt>
                <c:pt idx="30">
                  <c:v>-1.3043768021304969E-3</c:v>
                </c:pt>
                <c:pt idx="31">
                  <c:v>-3.6109732960172974E-3</c:v>
                </c:pt>
                <c:pt idx="32">
                  <c:v>7.8607540923061187E-3</c:v>
                </c:pt>
              </c:numCache>
            </c:numRef>
          </c:xVal>
          <c:yVal>
            <c:numRef>
              <c:f>Sheet1!$B$2:$B$34</c:f>
              <c:numCache>
                <c:formatCode>0.0%;\-0.0%;0.0%</c:formatCode>
                <c:ptCount val="33"/>
                <c:pt idx="0">
                  <c:v>1.6077368263089004E-2</c:v>
                </c:pt>
                <c:pt idx="1">
                  <c:v>4.9888095762964935E-3</c:v>
                </c:pt>
                <c:pt idx="2">
                  <c:v>1.9889894317162454E-2</c:v>
                </c:pt>
                <c:pt idx="3">
                  <c:v>2.3791600338200131E-2</c:v>
                </c:pt>
                <c:pt idx="4">
                  <c:v>-1.5454854750623526E-2</c:v>
                </c:pt>
                <c:pt idx="5">
                  <c:v>-5.6397933119886334E-3</c:v>
                </c:pt>
                <c:pt idx="6">
                  <c:v>-1.593787288957145E-2</c:v>
                </c:pt>
                <c:pt idx="7">
                  <c:v>-1.1812150501305935E-2</c:v>
                </c:pt>
                <c:pt idx="8">
                  <c:v>-1.2009982810354147E-2</c:v>
                </c:pt>
                <c:pt idx="9">
                  <c:v>-1.0909205959135124E-2</c:v>
                </c:pt>
                <c:pt idx="10">
                  <c:v>2.2931981284335864E-2</c:v>
                </c:pt>
                <c:pt idx="11">
                  <c:v>-1.7780339796623496E-3</c:v>
                </c:pt>
                <c:pt idx="12">
                  <c:v>-8.6871564268937995E-4</c:v>
                </c:pt>
                <c:pt idx="13">
                  <c:v>7.4074508528449295E-3</c:v>
                </c:pt>
                <c:pt idx="14">
                  <c:v>-6.445956049093246E-3</c:v>
                </c:pt>
                <c:pt idx="15">
                  <c:v>2.9345873390817095E-3</c:v>
                </c:pt>
                <c:pt idx="16">
                  <c:v>-2.5033423847073549E-3</c:v>
                </c:pt>
                <c:pt idx="17">
                  <c:v>9.5200088515108167E-3</c:v>
                </c:pt>
                <c:pt idx="18">
                  <c:v>9.9891916816288451E-3</c:v>
                </c:pt>
                <c:pt idx="19">
                  <c:v>9.1761724065763661E-3</c:v>
                </c:pt>
                <c:pt idx="20">
                  <c:v>-3.0496378987734406E-2</c:v>
                </c:pt>
                <c:pt idx="21">
                  <c:v>7.9925287452611848E-4</c:v>
                </c:pt>
                <c:pt idx="22">
                  <c:v>-2.0230737247837194E-3</c:v>
                </c:pt>
                <c:pt idx="23">
                  <c:v>7.4074508528449295E-3</c:v>
                </c:pt>
                <c:pt idx="24">
                  <c:v>-6.445956049093246E-3</c:v>
                </c:pt>
                <c:pt idx="25">
                  <c:v>2.9345873390817095E-3</c:v>
                </c:pt>
                <c:pt idx="26">
                  <c:v>-2.5033423847073549E-3</c:v>
                </c:pt>
                <c:pt idx="27">
                  <c:v>9.5200088515108167E-3</c:v>
                </c:pt>
                <c:pt idx="28">
                  <c:v>9.9891916816288451E-3</c:v>
                </c:pt>
                <c:pt idx="29">
                  <c:v>9.1761724065763661E-3</c:v>
                </c:pt>
                <c:pt idx="30">
                  <c:v>9.5200088515108167E-3</c:v>
                </c:pt>
                <c:pt idx="31">
                  <c:v>9.9891916816288451E-3</c:v>
                </c:pt>
                <c:pt idx="32">
                  <c:v>9.1761724065763661E-3</c:v>
                </c:pt>
              </c:numCache>
            </c:numRef>
          </c:yVal>
          <c:bubbleSize>
            <c:numRef>
              <c:f>Sheet1!$C$2:$C$34</c:f>
              <c:numCache>
                <c:formatCode>0.0%;\-0.0%;0.0%</c:formatCode>
                <c:ptCount val="33"/>
                <c:pt idx="0">
                  <c:v>0.20534350317386332</c:v>
                </c:pt>
                <c:pt idx="1">
                  <c:v>0.16449967474779223</c:v>
                </c:pt>
                <c:pt idx="2">
                  <c:v>0.13570937422705509</c:v>
                </c:pt>
                <c:pt idx="3">
                  <c:v>0.13524377358098763</c:v>
                </c:pt>
                <c:pt idx="4">
                  <c:v>0.13450598379583567</c:v>
                </c:pt>
                <c:pt idx="5">
                  <c:v>0.12838465331101265</c:v>
                </c:pt>
                <c:pt idx="6">
                  <c:v>0.12789317668826383</c:v>
                </c:pt>
                <c:pt idx="7">
                  <c:v>0.12598628919541183</c:v>
                </c:pt>
                <c:pt idx="8">
                  <c:v>0.11915710808411799</c:v>
                </c:pt>
                <c:pt idx="9">
                  <c:v>0.11524356147158238</c:v>
                </c:pt>
                <c:pt idx="10">
                  <c:v>0.10995067495830582</c:v>
                </c:pt>
                <c:pt idx="11">
                  <c:v>0.10243243744425988</c:v>
                </c:pt>
                <c:pt idx="12">
                  <c:v>0.10064622312236793</c:v>
                </c:pt>
                <c:pt idx="13">
                  <c:v>9.7816705186919498E-2</c:v>
                </c:pt>
                <c:pt idx="14">
                  <c:v>9.0064390990702486E-2</c:v>
                </c:pt>
                <c:pt idx="15">
                  <c:v>8.6588910005602857E-2</c:v>
                </c:pt>
                <c:pt idx="16">
                  <c:v>8.5773704176114046E-2</c:v>
                </c:pt>
                <c:pt idx="17">
                  <c:v>8.4058948873066877E-2</c:v>
                </c:pt>
                <c:pt idx="18">
                  <c:v>8.267753186260067E-2</c:v>
                </c:pt>
                <c:pt idx="19">
                  <c:v>7.4128876889740694E-2</c:v>
                </c:pt>
                <c:pt idx="20">
                  <c:v>6.8734786726684913E-2</c:v>
                </c:pt>
                <c:pt idx="21">
                  <c:v>5.2203029775927438E-2</c:v>
                </c:pt>
                <c:pt idx="22">
                  <c:v>5.0809302204603793E-2</c:v>
                </c:pt>
                <c:pt idx="23">
                  <c:v>9.7816705186919498E-2</c:v>
                </c:pt>
                <c:pt idx="24">
                  <c:v>9.0064390990702486E-2</c:v>
                </c:pt>
                <c:pt idx="25">
                  <c:v>8.6588910005602857E-2</c:v>
                </c:pt>
                <c:pt idx="26">
                  <c:v>8.5773704176114046E-2</c:v>
                </c:pt>
                <c:pt idx="27">
                  <c:v>8.4058948873066877E-2</c:v>
                </c:pt>
                <c:pt idx="28">
                  <c:v>8.267753186260067E-2</c:v>
                </c:pt>
                <c:pt idx="29">
                  <c:v>7.4128876889740694E-2</c:v>
                </c:pt>
                <c:pt idx="30">
                  <c:v>8.4058948873066877E-2</c:v>
                </c:pt>
                <c:pt idx="31">
                  <c:v>8.267753186260067E-2</c:v>
                </c:pt>
                <c:pt idx="32">
                  <c:v>7.4128876889740694E-2</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 val="autoZero"/>
        <c:crossBetween val="midCat"/>
      </c:valAx>
      <c:valAx>
        <c:axId val="1389927199"/>
        <c:scaling>
          <c:orientation val="minMax"/>
        </c:scaling>
        <c:delete val="0"/>
        <c:axPos val="l"/>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Y-Values</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7BCA69D4-D259-496E-8232-09A6B8B827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8CEB6EB2-1124-477F-AC4E-7551DE801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25AD83AE-B636-4403-99D9-B92B83423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022EEF63-0DB9-4AAF-B6BD-489D2E13DA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54B7F591-213D-48D7-BB63-1D66CE9D1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BE9EBF42-32C8-4A6B-A1EC-9518BD07E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0B5236FB-6DE4-4D77-A259-C61FCBF6B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8837FB7B-F67F-4F4E-8C10-BA03C22B9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6A08F265-FA87-40E7-A7F1-D89AB86D4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F311FE61-3527-45FF-9939-261A5F6B10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8B0526D2-1A90-4CA1-8367-4FE1D7809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E07D5EF6-E1DF-466A-B88E-A53FC0D3C2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137688B0-2C66-446A-A168-69768C39D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A6515CE5-577C-4BF9-AA3B-4F14185C63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40E57784-EC1D-4C7D-9D5D-4782B3D731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0EA78D28-BF93-4EC8-8F75-87460BB6E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58EB5F0B-BD1F-4D8D-9DC2-A9E7591F9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5829BB4A-52EA-43A0-85D6-ADF36250A4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361254A4-E8BF-4C49-8408-70F1E213D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46C4F2CD-91A1-4B07-9C8F-1023176D1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A058D4C7-D0DA-4F9C-9B1C-A39044DFD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1A5A05BD-DAE6-41A4-A75F-8740B119A3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BA6A7A7D-3172-418D-B1C4-338D653B0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CD3E9DC8-A398-4159-8D8E-2D979E394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633380AE-5E6E-4EE7-ABDB-99F8309C6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9D84F977-E629-4895-8103-2B7002E7A1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360D0352-40BC-4863-97B0-C05CB627DF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643890BB-55D2-43C2-B349-3FCA70FCDF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F27872DA-D490-4A68-8C55-46BDFDD02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FF994B07-4C01-4D79-8160-696E74453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1EC857EF-3152-4039-86AA-FDABC1BF49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1F5FC011-05EC-4940-B092-23A42AEEE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C8261182-C43F-4C70-9F7F-860622322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4</c:f>
              <c:numCache>
                <c:formatCode>0.0%;\-0.0%;0.0%</c:formatCode>
                <c:ptCount val="33"/>
                <c:pt idx="0">
                  <c:v>1.1662181860086357E-2</c:v>
                </c:pt>
                <c:pt idx="1">
                  <c:v>1.0816439999444288E-2</c:v>
                </c:pt>
                <c:pt idx="2">
                  <c:v>1.7698258327168995E-2</c:v>
                </c:pt>
                <c:pt idx="3">
                  <c:v>-8.7923224759184349E-4</c:v>
                </c:pt>
                <c:pt idx="4">
                  <c:v>-5.6865707332624249E-3</c:v>
                </c:pt>
                <c:pt idx="5">
                  <c:v>2.4985757042278456E-3</c:v>
                </c:pt>
                <c:pt idx="6">
                  <c:v>-3.3819215181130347E-3</c:v>
                </c:pt>
                <c:pt idx="7">
                  <c:v>-8.752621139535316E-3</c:v>
                </c:pt>
                <c:pt idx="8">
                  <c:v>-3.057476414990018E-4</c:v>
                </c:pt>
                <c:pt idx="9">
                  <c:v>-1.0676026102167668E-3</c:v>
                </c:pt>
                <c:pt idx="10">
                  <c:v>8.9592623915902142E-3</c:v>
                </c:pt>
                <c:pt idx="11">
                  <c:v>-7.3357896273603673E-3</c:v>
                </c:pt>
                <c:pt idx="12">
                  <c:v>1.35594851177364E-2</c:v>
                </c:pt>
                <c:pt idx="13">
                  <c:v>7.1177235185152649E-3</c:v>
                </c:pt>
                <c:pt idx="14">
                  <c:v>-8.1083902172321143E-3</c:v>
                </c:pt>
                <c:pt idx="15">
                  <c:v>6.7319320453412823E-4</c:v>
                </c:pt>
                <c:pt idx="16">
                  <c:v>-2.8338471600411336E-3</c:v>
                </c:pt>
                <c:pt idx="17">
                  <c:v>-1.3043768021304969E-3</c:v>
                </c:pt>
                <c:pt idx="18">
                  <c:v>-3.6109732960172974E-3</c:v>
                </c:pt>
                <c:pt idx="19">
                  <c:v>7.8607540923061187E-3</c:v>
                </c:pt>
                <c:pt idx="20">
                  <c:v>-1.3220268089368714E-2</c:v>
                </c:pt>
                <c:pt idx="21">
                  <c:v>3.1281538737684828E-3</c:v>
                </c:pt>
                <c:pt idx="22">
                  <c:v>1.2357208407868935E-2</c:v>
                </c:pt>
                <c:pt idx="23">
                  <c:v>7.1177235185152649E-3</c:v>
                </c:pt>
                <c:pt idx="24">
                  <c:v>-8.1083902172321143E-3</c:v>
                </c:pt>
                <c:pt idx="25">
                  <c:v>6.7319320453412823E-4</c:v>
                </c:pt>
                <c:pt idx="26">
                  <c:v>-2.8338471600411336E-3</c:v>
                </c:pt>
                <c:pt idx="27">
                  <c:v>-1.3043768021304969E-3</c:v>
                </c:pt>
                <c:pt idx="28">
                  <c:v>-3.6109732960172974E-3</c:v>
                </c:pt>
                <c:pt idx="29">
                  <c:v>7.8607540923061187E-3</c:v>
                </c:pt>
                <c:pt idx="30">
                  <c:v>-1.3043768021304969E-3</c:v>
                </c:pt>
                <c:pt idx="31">
                  <c:v>-3.6109732960172974E-3</c:v>
                </c:pt>
                <c:pt idx="32">
                  <c:v>7.8607540923061187E-3</c:v>
                </c:pt>
              </c:numCache>
            </c:numRef>
          </c:xVal>
          <c:yVal>
            <c:numRef>
              <c:f>Sheet1!$B$2:$B$34</c:f>
              <c:numCache>
                <c:formatCode>0.0%;\-0.0%;0.0%</c:formatCode>
                <c:ptCount val="33"/>
                <c:pt idx="0">
                  <c:v>1.6077368263089004E-2</c:v>
                </c:pt>
                <c:pt idx="1">
                  <c:v>4.9888095762964935E-3</c:v>
                </c:pt>
                <c:pt idx="2">
                  <c:v>1.9889894317162454E-2</c:v>
                </c:pt>
                <c:pt idx="3">
                  <c:v>2.3791600338200131E-2</c:v>
                </c:pt>
                <c:pt idx="4">
                  <c:v>-1.5454854750623526E-2</c:v>
                </c:pt>
                <c:pt idx="5">
                  <c:v>-5.6397933119886334E-3</c:v>
                </c:pt>
                <c:pt idx="6">
                  <c:v>-1.593787288957145E-2</c:v>
                </c:pt>
                <c:pt idx="7">
                  <c:v>-1.1812150501305935E-2</c:v>
                </c:pt>
                <c:pt idx="8">
                  <c:v>-1.2009982810354147E-2</c:v>
                </c:pt>
                <c:pt idx="9">
                  <c:v>-1.0909205959135124E-2</c:v>
                </c:pt>
                <c:pt idx="10">
                  <c:v>2.2931981284335864E-2</c:v>
                </c:pt>
                <c:pt idx="11">
                  <c:v>-1.7780339796623496E-3</c:v>
                </c:pt>
                <c:pt idx="12">
                  <c:v>-8.6871564268937995E-4</c:v>
                </c:pt>
                <c:pt idx="13">
                  <c:v>7.4074508528449295E-3</c:v>
                </c:pt>
                <c:pt idx="14">
                  <c:v>-6.445956049093246E-3</c:v>
                </c:pt>
                <c:pt idx="15">
                  <c:v>2.9345873390817095E-3</c:v>
                </c:pt>
                <c:pt idx="16">
                  <c:v>-2.5033423847073549E-3</c:v>
                </c:pt>
                <c:pt idx="17">
                  <c:v>9.5200088515108167E-3</c:v>
                </c:pt>
                <c:pt idx="18">
                  <c:v>9.9891916816288451E-3</c:v>
                </c:pt>
                <c:pt idx="19">
                  <c:v>9.1761724065763661E-3</c:v>
                </c:pt>
                <c:pt idx="20">
                  <c:v>-3.0496378987734406E-2</c:v>
                </c:pt>
                <c:pt idx="21">
                  <c:v>7.9925287452611848E-4</c:v>
                </c:pt>
                <c:pt idx="22">
                  <c:v>-2.0230737247837194E-3</c:v>
                </c:pt>
                <c:pt idx="23">
                  <c:v>7.4074508528449295E-3</c:v>
                </c:pt>
                <c:pt idx="24">
                  <c:v>-6.445956049093246E-3</c:v>
                </c:pt>
                <c:pt idx="25">
                  <c:v>2.9345873390817095E-3</c:v>
                </c:pt>
                <c:pt idx="26">
                  <c:v>-2.5033423847073549E-3</c:v>
                </c:pt>
                <c:pt idx="27">
                  <c:v>9.5200088515108167E-3</c:v>
                </c:pt>
                <c:pt idx="28">
                  <c:v>9.9891916816288451E-3</c:v>
                </c:pt>
                <c:pt idx="29">
                  <c:v>9.1761724065763661E-3</c:v>
                </c:pt>
                <c:pt idx="30">
                  <c:v>9.5200088515108167E-3</c:v>
                </c:pt>
                <c:pt idx="31">
                  <c:v>9.9891916816288451E-3</c:v>
                </c:pt>
                <c:pt idx="32">
                  <c:v>9.1761724065763661E-3</c:v>
                </c:pt>
              </c:numCache>
            </c:numRef>
          </c:yVal>
          <c:bubbleSize>
            <c:numRef>
              <c:f>Sheet1!$C$2:$C$34</c:f>
              <c:numCache>
                <c:formatCode>0.0%;\-0.0%;0.0%</c:formatCode>
                <c:ptCount val="33"/>
                <c:pt idx="0">
                  <c:v>0.20534350317386332</c:v>
                </c:pt>
                <c:pt idx="1">
                  <c:v>0.16449967474779223</c:v>
                </c:pt>
                <c:pt idx="2">
                  <c:v>0.13570937422705509</c:v>
                </c:pt>
                <c:pt idx="3">
                  <c:v>0.13524377358098763</c:v>
                </c:pt>
                <c:pt idx="4">
                  <c:v>0.13450598379583567</c:v>
                </c:pt>
                <c:pt idx="5">
                  <c:v>0.12838465331101265</c:v>
                </c:pt>
                <c:pt idx="6">
                  <c:v>0.12789317668826383</c:v>
                </c:pt>
                <c:pt idx="7">
                  <c:v>0.12598628919541183</c:v>
                </c:pt>
                <c:pt idx="8">
                  <c:v>0.11915710808411799</c:v>
                </c:pt>
                <c:pt idx="9">
                  <c:v>0.11524356147158238</c:v>
                </c:pt>
                <c:pt idx="10">
                  <c:v>0.10995067495830582</c:v>
                </c:pt>
                <c:pt idx="11">
                  <c:v>0.10243243744425988</c:v>
                </c:pt>
                <c:pt idx="12">
                  <c:v>0.10064622312236793</c:v>
                </c:pt>
                <c:pt idx="13">
                  <c:v>9.7816705186919498E-2</c:v>
                </c:pt>
                <c:pt idx="14">
                  <c:v>9.0064390990702486E-2</c:v>
                </c:pt>
                <c:pt idx="15">
                  <c:v>8.6588910005602857E-2</c:v>
                </c:pt>
                <c:pt idx="16">
                  <c:v>8.5773704176114046E-2</c:v>
                </c:pt>
                <c:pt idx="17">
                  <c:v>8.4058948873066877E-2</c:v>
                </c:pt>
                <c:pt idx="18">
                  <c:v>8.267753186260067E-2</c:v>
                </c:pt>
                <c:pt idx="19">
                  <c:v>7.4128876889740694E-2</c:v>
                </c:pt>
                <c:pt idx="20">
                  <c:v>6.8734786726684913E-2</c:v>
                </c:pt>
                <c:pt idx="21">
                  <c:v>5.2203029775927438E-2</c:v>
                </c:pt>
                <c:pt idx="22">
                  <c:v>5.0809302204603793E-2</c:v>
                </c:pt>
                <c:pt idx="23">
                  <c:v>9.7816705186919498E-2</c:v>
                </c:pt>
                <c:pt idx="24">
                  <c:v>9.0064390990702486E-2</c:v>
                </c:pt>
                <c:pt idx="25">
                  <c:v>8.6588910005602857E-2</c:v>
                </c:pt>
                <c:pt idx="26">
                  <c:v>8.5773704176114046E-2</c:v>
                </c:pt>
                <c:pt idx="27">
                  <c:v>8.4058948873066877E-2</c:v>
                </c:pt>
                <c:pt idx="28">
                  <c:v>8.267753186260067E-2</c:v>
                </c:pt>
                <c:pt idx="29">
                  <c:v>7.4128876889740694E-2</c:v>
                </c:pt>
                <c:pt idx="30">
                  <c:v>8.4058948873066877E-2</c:v>
                </c:pt>
                <c:pt idx="31">
                  <c:v>8.267753186260067E-2</c:v>
                </c:pt>
                <c:pt idx="32">
                  <c:v>7.4128876889740694E-2</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 val="autoZero"/>
        <c:crossBetween val="midCat"/>
      </c:valAx>
      <c:valAx>
        <c:axId val="1389927199"/>
        <c:scaling>
          <c:orientation val="minMax"/>
        </c:scaling>
        <c:delete val="0"/>
        <c:axPos val="l"/>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Y-Values</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2F17DCA4-30E0-4F13-A20D-1C454CFB8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9D58E18D-0052-4177-97CE-B6BF5BBE8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6F51B600-0F94-4E61-B1AA-726416E72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BDD41E05-C382-4308-94E8-C70995104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94037504-4BE9-4154-B9B8-FFAC4A87C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50FD4F4A-D56B-4A14-8D62-F44352A51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DC6F4225-E523-40C6-BF18-86753BEA2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B04CCC25-3881-48D1-BCA8-4E10E5A532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0BFEBE94-DA9B-48E3-AF6A-97EFEE240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3B190D9E-7F26-4FED-9130-B8952F219B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2ADE204D-5EE5-4A0A-B24C-20F4800564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C8E976E5-44E7-46A0-94D9-339166094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E46F8E61-B55A-4D92-B980-086E1B12B2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7A052FD2-AFEC-4A1C-8F0C-6D0638928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23EC09E5-B0D7-41F9-985A-0AC303D02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F17B769D-8567-4E87-AB18-DA203E6DCE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08EAC776-2EA0-4982-9B91-1D7C61487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29D3DA2C-9C00-4ED4-8634-39C5EEDF7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85FBF2CF-2C56-43F8-846B-B3CE99BEE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8D1A09EC-AA75-4A91-AB06-4D0E0C16A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18FDC497-4382-4A00-BC5C-19641A24D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E27200F0-BE40-4294-898F-5C6CDC452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F0AD7B3A-93CC-4DD6-BB9E-C41C08998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1708A26D-EACC-417C-93C3-71343C337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635EB0F6-2431-4F86-857B-26E9BF2A5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FCE9E82E-7B64-40CE-BB26-C423975F1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B843249A-E77C-40FF-B12D-B2A85FF90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599E5307-0E21-4B9C-A443-D43E2AE1A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051748C8-1A49-420F-90E9-5473A55CF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70345D91-2365-419F-8943-C1A36EAE4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1C043533-731D-48FA-85D6-267F0C467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9942D8A5-0E8F-408C-A829-92BCA6D9BC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C2BF6556-D4BA-4309-B014-58C16E1B4D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4</c:f>
              <c:numCache>
                <c:formatCode>0.0%;\-0.0%;0.0%</c:formatCode>
                <c:ptCount val="33"/>
                <c:pt idx="0">
                  <c:v>1.1662181860086357E-2</c:v>
                </c:pt>
                <c:pt idx="1">
                  <c:v>1.0816439999444288E-2</c:v>
                </c:pt>
                <c:pt idx="2">
                  <c:v>1.7698258327168995E-2</c:v>
                </c:pt>
                <c:pt idx="3">
                  <c:v>-8.7923224759184349E-4</c:v>
                </c:pt>
                <c:pt idx="4">
                  <c:v>-5.6865707332624249E-3</c:v>
                </c:pt>
                <c:pt idx="5">
                  <c:v>2.4985757042278456E-3</c:v>
                </c:pt>
                <c:pt idx="6">
                  <c:v>-3.3819215181130347E-3</c:v>
                </c:pt>
                <c:pt idx="7">
                  <c:v>-8.752621139535316E-3</c:v>
                </c:pt>
                <c:pt idx="8">
                  <c:v>-3.057476414990018E-4</c:v>
                </c:pt>
                <c:pt idx="9">
                  <c:v>-1.0676026102167668E-3</c:v>
                </c:pt>
                <c:pt idx="10">
                  <c:v>8.9592623915902142E-3</c:v>
                </c:pt>
                <c:pt idx="11">
                  <c:v>-7.3357896273603673E-3</c:v>
                </c:pt>
                <c:pt idx="12">
                  <c:v>1.35594851177364E-2</c:v>
                </c:pt>
                <c:pt idx="13">
                  <c:v>7.1177235185152649E-3</c:v>
                </c:pt>
                <c:pt idx="14">
                  <c:v>-8.1083902172321143E-3</c:v>
                </c:pt>
                <c:pt idx="15">
                  <c:v>6.7319320453412823E-4</c:v>
                </c:pt>
                <c:pt idx="16">
                  <c:v>-2.8338471600411336E-3</c:v>
                </c:pt>
                <c:pt idx="17">
                  <c:v>-1.3043768021304969E-3</c:v>
                </c:pt>
                <c:pt idx="18">
                  <c:v>-3.6109732960172974E-3</c:v>
                </c:pt>
                <c:pt idx="19">
                  <c:v>7.8607540923061187E-3</c:v>
                </c:pt>
                <c:pt idx="20">
                  <c:v>-1.3220268089368714E-2</c:v>
                </c:pt>
                <c:pt idx="21">
                  <c:v>3.1281538737684828E-3</c:v>
                </c:pt>
                <c:pt idx="22">
                  <c:v>1.2357208407868935E-2</c:v>
                </c:pt>
                <c:pt idx="23">
                  <c:v>7.1177235185152649E-3</c:v>
                </c:pt>
                <c:pt idx="24">
                  <c:v>-8.1083902172321143E-3</c:v>
                </c:pt>
                <c:pt idx="25">
                  <c:v>6.7319320453412823E-4</c:v>
                </c:pt>
                <c:pt idx="26">
                  <c:v>-2.8338471600411336E-3</c:v>
                </c:pt>
                <c:pt idx="27">
                  <c:v>-1.3043768021304969E-3</c:v>
                </c:pt>
                <c:pt idx="28">
                  <c:v>-3.6109732960172974E-3</c:v>
                </c:pt>
                <c:pt idx="29">
                  <c:v>7.8607540923061187E-3</c:v>
                </c:pt>
                <c:pt idx="30">
                  <c:v>-1.3043768021304969E-3</c:v>
                </c:pt>
                <c:pt idx="31">
                  <c:v>-3.6109732960172974E-3</c:v>
                </c:pt>
                <c:pt idx="32">
                  <c:v>7.8607540923061187E-3</c:v>
                </c:pt>
              </c:numCache>
            </c:numRef>
          </c:xVal>
          <c:yVal>
            <c:numRef>
              <c:f>Sheet1!$B$2:$B$34</c:f>
              <c:numCache>
                <c:formatCode>0.0%;\-0.0%;0.0%</c:formatCode>
                <c:ptCount val="33"/>
                <c:pt idx="0">
                  <c:v>1.6077368263089004E-2</c:v>
                </c:pt>
                <c:pt idx="1">
                  <c:v>4.9888095762964935E-3</c:v>
                </c:pt>
                <c:pt idx="2">
                  <c:v>1.9889894317162454E-2</c:v>
                </c:pt>
                <c:pt idx="3">
                  <c:v>2.3791600338200131E-2</c:v>
                </c:pt>
                <c:pt idx="4">
                  <c:v>-1.5454854750623526E-2</c:v>
                </c:pt>
                <c:pt idx="5">
                  <c:v>-5.6397933119886334E-3</c:v>
                </c:pt>
                <c:pt idx="6">
                  <c:v>-1.593787288957145E-2</c:v>
                </c:pt>
                <c:pt idx="7">
                  <c:v>-1.1812150501305935E-2</c:v>
                </c:pt>
                <c:pt idx="8">
                  <c:v>-1.2009982810354147E-2</c:v>
                </c:pt>
                <c:pt idx="9">
                  <c:v>-1.0909205959135124E-2</c:v>
                </c:pt>
                <c:pt idx="10">
                  <c:v>2.2931981284335864E-2</c:v>
                </c:pt>
                <c:pt idx="11">
                  <c:v>-1.7780339796623496E-3</c:v>
                </c:pt>
                <c:pt idx="12">
                  <c:v>-8.6871564268937995E-4</c:v>
                </c:pt>
                <c:pt idx="13">
                  <c:v>7.4074508528449295E-3</c:v>
                </c:pt>
                <c:pt idx="14">
                  <c:v>-6.445956049093246E-3</c:v>
                </c:pt>
                <c:pt idx="15">
                  <c:v>2.9345873390817095E-3</c:v>
                </c:pt>
                <c:pt idx="16">
                  <c:v>-2.5033423847073549E-3</c:v>
                </c:pt>
                <c:pt idx="17">
                  <c:v>9.5200088515108167E-3</c:v>
                </c:pt>
                <c:pt idx="18">
                  <c:v>9.9891916816288451E-3</c:v>
                </c:pt>
                <c:pt idx="19">
                  <c:v>9.1761724065763661E-3</c:v>
                </c:pt>
                <c:pt idx="20">
                  <c:v>-3.0496378987734406E-2</c:v>
                </c:pt>
                <c:pt idx="21">
                  <c:v>7.9925287452611848E-4</c:v>
                </c:pt>
                <c:pt idx="22">
                  <c:v>-2.0230737247837194E-3</c:v>
                </c:pt>
                <c:pt idx="23">
                  <c:v>7.4074508528449295E-3</c:v>
                </c:pt>
                <c:pt idx="24">
                  <c:v>-6.445956049093246E-3</c:v>
                </c:pt>
                <c:pt idx="25">
                  <c:v>2.9345873390817095E-3</c:v>
                </c:pt>
                <c:pt idx="26">
                  <c:v>-2.5033423847073549E-3</c:v>
                </c:pt>
                <c:pt idx="27">
                  <c:v>9.5200088515108167E-3</c:v>
                </c:pt>
                <c:pt idx="28">
                  <c:v>9.9891916816288451E-3</c:v>
                </c:pt>
                <c:pt idx="29">
                  <c:v>9.1761724065763661E-3</c:v>
                </c:pt>
                <c:pt idx="30">
                  <c:v>9.5200088515108167E-3</c:v>
                </c:pt>
                <c:pt idx="31">
                  <c:v>9.9891916816288451E-3</c:v>
                </c:pt>
                <c:pt idx="32">
                  <c:v>9.1761724065763661E-3</c:v>
                </c:pt>
              </c:numCache>
            </c:numRef>
          </c:yVal>
          <c:bubbleSize>
            <c:numRef>
              <c:f>Sheet1!$C$2:$C$34</c:f>
              <c:numCache>
                <c:formatCode>0.0%;\-0.0%;0.0%</c:formatCode>
                <c:ptCount val="33"/>
                <c:pt idx="0">
                  <c:v>0.20534350317386332</c:v>
                </c:pt>
                <c:pt idx="1">
                  <c:v>0.16449967474779223</c:v>
                </c:pt>
                <c:pt idx="2">
                  <c:v>0.13570937422705509</c:v>
                </c:pt>
                <c:pt idx="3">
                  <c:v>0.13524377358098763</c:v>
                </c:pt>
                <c:pt idx="4">
                  <c:v>0.13450598379583567</c:v>
                </c:pt>
                <c:pt idx="5">
                  <c:v>0.12838465331101265</c:v>
                </c:pt>
                <c:pt idx="6">
                  <c:v>0.12789317668826383</c:v>
                </c:pt>
                <c:pt idx="7">
                  <c:v>0.12598628919541183</c:v>
                </c:pt>
                <c:pt idx="8">
                  <c:v>0.11915710808411799</c:v>
                </c:pt>
                <c:pt idx="9">
                  <c:v>0.11524356147158238</c:v>
                </c:pt>
                <c:pt idx="10">
                  <c:v>0.10995067495830582</c:v>
                </c:pt>
                <c:pt idx="11">
                  <c:v>0.10243243744425988</c:v>
                </c:pt>
                <c:pt idx="12">
                  <c:v>0.10064622312236793</c:v>
                </c:pt>
                <c:pt idx="13">
                  <c:v>9.7816705186919498E-2</c:v>
                </c:pt>
                <c:pt idx="14">
                  <c:v>9.0064390990702486E-2</c:v>
                </c:pt>
                <c:pt idx="15">
                  <c:v>8.6588910005602857E-2</c:v>
                </c:pt>
                <c:pt idx="16">
                  <c:v>8.5773704176114046E-2</c:v>
                </c:pt>
                <c:pt idx="17">
                  <c:v>8.4058948873066877E-2</c:v>
                </c:pt>
                <c:pt idx="18">
                  <c:v>8.267753186260067E-2</c:v>
                </c:pt>
                <c:pt idx="19">
                  <c:v>7.4128876889740694E-2</c:v>
                </c:pt>
                <c:pt idx="20">
                  <c:v>6.8734786726684913E-2</c:v>
                </c:pt>
                <c:pt idx="21">
                  <c:v>5.2203029775927438E-2</c:v>
                </c:pt>
                <c:pt idx="22">
                  <c:v>5.0809302204603793E-2</c:v>
                </c:pt>
                <c:pt idx="23">
                  <c:v>9.7816705186919498E-2</c:v>
                </c:pt>
                <c:pt idx="24">
                  <c:v>9.0064390990702486E-2</c:v>
                </c:pt>
                <c:pt idx="25">
                  <c:v>8.6588910005602857E-2</c:v>
                </c:pt>
                <c:pt idx="26">
                  <c:v>8.5773704176114046E-2</c:v>
                </c:pt>
                <c:pt idx="27">
                  <c:v>8.4058948873066877E-2</c:v>
                </c:pt>
                <c:pt idx="28">
                  <c:v>8.267753186260067E-2</c:v>
                </c:pt>
                <c:pt idx="29">
                  <c:v>7.4128876889740694E-2</c:v>
                </c:pt>
                <c:pt idx="30">
                  <c:v>8.4058948873066877E-2</c:v>
                </c:pt>
                <c:pt idx="31">
                  <c:v>8.267753186260067E-2</c:v>
                </c:pt>
                <c:pt idx="32">
                  <c:v>7.4128876889740694E-2</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 val="autoZero"/>
        <c:crossBetween val="midCat"/>
      </c:valAx>
      <c:valAx>
        <c:axId val="1389927199"/>
        <c:scaling>
          <c:orientation val="minMax"/>
        </c:scaling>
        <c:delete val="0"/>
        <c:axPos val="l"/>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Y-Values</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B5867D69-E6EF-4905-A23A-195D607D9D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AD0BCACE-6626-4112-A026-53BA7F561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FD22E20F-E5B0-443E-8F5E-BE013EA8C1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B04D97A0-24BA-454D-BF74-04105A9C1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D924FE0C-AF92-44A6-9937-26D1A32723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E16D1F5C-EB45-43C1-8275-AD17F5035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A27B5503-693D-4EBF-984A-50486F8C6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D8814380-7D4C-48FB-9C27-0D81FEF16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311733F1-838A-4682-B566-C0AD196A3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975FCB95-78BA-4448-B5EA-B7595F5AC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F0705DB6-6310-47CE-93FB-DBDA2FB64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9548CE4E-3F84-42AE-9A6C-974795823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E9EE5FF0-127E-4A82-B6ED-7D09A7B58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0B3819ED-1832-44DA-AF6A-1CBC6C3B64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A26F43DD-5750-4A84-AE45-AD062EBE8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4FD306B7-F781-4D3F-B022-BC2CAA91B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DCD6C773-30E0-4BF7-A0DA-157D7A294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0016581E-0A12-4815-847D-262644773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E77A868B-3740-4D70-AAF6-A424F7600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523D9973-F020-419A-92B3-9FAE95C2C2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9CF27FB2-EC09-4858-8837-70945339E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2A7C4F2C-1882-42FE-85BA-51F9B33C8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BA61B1F6-1480-4686-B840-B15CA47FF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12A5D3DC-2D59-4D0B-9F42-D4FB841E8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AAE8398D-14D6-4440-8D5B-2A7DB2A110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95DF1711-BED6-43FB-87CF-5B98BE01D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7C8F37E5-D9B4-4501-BD45-0DA6A30EBC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ADA351F6-9264-4CE6-9679-6CD4303AB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C8F044EC-04DE-4B6F-9945-E653D55CA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406D71FA-69AC-4E7D-A86D-F5E493C79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9FA55D59-3B85-4244-8E81-F99704535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0496EC9A-719D-4D55-919B-363A7A047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EC208452-CCE8-4379-BFB8-F60FED6E29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4</c:f>
              <c:numCache>
                <c:formatCode>0.0%;\-0.0%;0.0%</c:formatCode>
                <c:ptCount val="33"/>
                <c:pt idx="0">
                  <c:v>1.1662181860086357E-2</c:v>
                </c:pt>
                <c:pt idx="1">
                  <c:v>1.0816439999444288E-2</c:v>
                </c:pt>
                <c:pt idx="2">
                  <c:v>1.7698258327168995E-2</c:v>
                </c:pt>
                <c:pt idx="3">
                  <c:v>-8.7923224759184349E-4</c:v>
                </c:pt>
                <c:pt idx="4">
                  <c:v>-5.6865707332624249E-3</c:v>
                </c:pt>
                <c:pt idx="5">
                  <c:v>2.4985757042278456E-3</c:v>
                </c:pt>
                <c:pt idx="6">
                  <c:v>-3.3819215181130347E-3</c:v>
                </c:pt>
                <c:pt idx="7">
                  <c:v>-8.752621139535316E-3</c:v>
                </c:pt>
                <c:pt idx="8">
                  <c:v>-3.057476414990018E-4</c:v>
                </c:pt>
                <c:pt idx="9">
                  <c:v>-1.0676026102167668E-3</c:v>
                </c:pt>
                <c:pt idx="10">
                  <c:v>8.9592623915902142E-3</c:v>
                </c:pt>
                <c:pt idx="11">
                  <c:v>-7.3357896273603673E-3</c:v>
                </c:pt>
                <c:pt idx="12">
                  <c:v>1.35594851177364E-2</c:v>
                </c:pt>
                <c:pt idx="13">
                  <c:v>7.1177235185152649E-3</c:v>
                </c:pt>
                <c:pt idx="14">
                  <c:v>-8.1083902172321143E-3</c:v>
                </c:pt>
                <c:pt idx="15">
                  <c:v>6.7319320453412823E-4</c:v>
                </c:pt>
                <c:pt idx="16">
                  <c:v>-2.8338471600411336E-3</c:v>
                </c:pt>
                <c:pt idx="17">
                  <c:v>-1.3043768021304969E-3</c:v>
                </c:pt>
                <c:pt idx="18">
                  <c:v>-3.6109732960172974E-3</c:v>
                </c:pt>
                <c:pt idx="19">
                  <c:v>7.8607540923061187E-3</c:v>
                </c:pt>
                <c:pt idx="20">
                  <c:v>-1.3220268089368714E-2</c:v>
                </c:pt>
                <c:pt idx="21">
                  <c:v>3.1281538737684828E-3</c:v>
                </c:pt>
                <c:pt idx="22">
                  <c:v>1.2357208407868935E-2</c:v>
                </c:pt>
                <c:pt idx="23">
                  <c:v>7.1177235185152649E-3</c:v>
                </c:pt>
                <c:pt idx="24">
                  <c:v>-8.1083902172321143E-3</c:v>
                </c:pt>
                <c:pt idx="25">
                  <c:v>6.7319320453412823E-4</c:v>
                </c:pt>
                <c:pt idx="26">
                  <c:v>-2.8338471600411336E-3</c:v>
                </c:pt>
                <c:pt idx="27">
                  <c:v>-1.3043768021304969E-3</c:v>
                </c:pt>
                <c:pt idx="28">
                  <c:v>-3.6109732960172974E-3</c:v>
                </c:pt>
                <c:pt idx="29">
                  <c:v>7.8607540923061187E-3</c:v>
                </c:pt>
                <c:pt idx="30">
                  <c:v>-1.3043768021304969E-3</c:v>
                </c:pt>
                <c:pt idx="31">
                  <c:v>-3.6109732960172974E-3</c:v>
                </c:pt>
                <c:pt idx="32">
                  <c:v>7.8607540923061187E-3</c:v>
                </c:pt>
              </c:numCache>
            </c:numRef>
          </c:xVal>
          <c:yVal>
            <c:numRef>
              <c:f>Sheet1!$B$2:$B$34</c:f>
              <c:numCache>
                <c:formatCode>0.0%;\-0.0%;0.0%</c:formatCode>
                <c:ptCount val="33"/>
                <c:pt idx="0">
                  <c:v>1.6077368263089004E-2</c:v>
                </c:pt>
                <c:pt idx="1">
                  <c:v>4.9888095762964935E-3</c:v>
                </c:pt>
                <c:pt idx="2">
                  <c:v>1.9889894317162454E-2</c:v>
                </c:pt>
                <c:pt idx="3">
                  <c:v>2.3791600338200131E-2</c:v>
                </c:pt>
                <c:pt idx="4">
                  <c:v>-1.5454854750623526E-2</c:v>
                </c:pt>
                <c:pt idx="5">
                  <c:v>-5.6397933119886334E-3</c:v>
                </c:pt>
                <c:pt idx="6">
                  <c:v>-1.593787288957145E-2</c:v>
                </c:pt>
                <c:pt idx="7">
                  <c:v>-1.1812150501305935E-2</c:v>
                </c:pt>
                <c:pt idx="8">
                  <c:v>-1.2009982810354147E-2</c:v>
                </c:pt>
                <c:pt idx="9">
                  <c:v>-1.0909205959135124E-2</c:v>
                </c:pt>
                <c:pt idx="10">
                  <c:v>2.2931981284335864E-2</c:v>
                </c:pt>
                <c:pt idx="11">
                  <c:v>-1.7780339796623496E-3</c:v>
                </c:pt>
                <c:pt idx="12">
                  <c:v>-8.6871564268937995E-4</c:v>
                </c:pt>
                <c:pt idx="13">
                  <c:v>7.4074508528449295E-3</c:v>
                </c:pt>
                <c:pt idx="14">
                  <c:v>-6.445956049093246E-3</c:v>
                </c:pt>
                <c:pt idx="15">
                  <c:v>2.9345873390817095E-3</c:v>
                </c:pt>
                <c:pt idx="16">
                  <c:v>-2.5033423847073549E-3</c:v>
                </c:pt>
                <c:pt idx="17">
                  <c:v>9.5200088515108167E-3</c:v>
                </c:pt>
                <c:pt idx="18">
                  <c:v>9.9891916816288451E-3</c:v>
                </c:pt>
                <c:pt idx="19">
                  <c:v>9.1761724065763661E-3</c:v>
                </c:pt>
                <c:pt idx="20">
                  <c:v>-3.0496378987734406E-2</c:v>
                </c:pt>
                <c:pt idx="21">
                  <c:v>7.9925287452611848E-4</c:v>
                </c:pt>
                <c:pt idx="22">
                  <c:v>-2.0230737247837194E-3</c:v>
                </c:pt>
                <c:pt idx="23">
                  <c:v>7.4074508528449295E-3</c:v>
                </c:pt>
                <c:pt idx="24">
                  <c:v>-6.445956049093246E-3</c:v>
                </c:pt>
                <c:pt idx="25">
                  <c:v>2.9345873390817095E-3</c:v>
                </c:pt>
                <c:pt idx="26">
                  <c:v>-2.5033423847073549E-3</c:v>
                </c:pt>
                <c:pt idx="27">
                  <c:v>9.5200088515108167E-3</c:v>
                </c:pt>
                <c:pt idx="28">
                  <c:v>9.9891916816288451E-3</c:v>
                </c:pt>
                <c:pt idx="29">
                  <c:v>9.1761724065763661E-3</c:v>
                </c:pt>
                <c:pt idx="30">
                  <c:v>9.5200088515108167E-3</c:v>
                </c:pt>
                <c:pt idx="31">
                  <c:v>9.9891916816288451E-3</c:v>
                </c:pt>
                <c:pt idx="32">
                  <c:v>9.1761724065763661E-3</c:v>
                </c:pt>
              </c:numCache>
            </c:numRef>
          </c:yVal>
          <c:bubbleSize>
            <c:numRef>
              <c:f>Sheet1!$C$2:$C$34</c:f>
              <c:numCache>
                <c:formatCode>0.0%;\-0.0%;0.0%</c:formatCode>
                <c:ptCount val="33"/>
                <c:pt idx="0">
                  <c:v>0.20534350317386332</c:v>
                </c:pt>
                <c:pt idx="1">
                  <c:v>0.16449967474779223</c:v>
                </c:pt>
                <c:pt idx="2">
                  <c:v>0.13570937422705509</c:v>
                </c:pt>
                <c:pt idx="3">
                  <c:v>0.13524377358098763</c:v>
                </c:pt>
                <c:pt idx="4">
                  <c:v>0.13450598379583567</c:v>
                </c:pt>
                <c:pt idx="5">
                  <c:v>0.12838465331101265</c:v>
                </c:pt>
                <c:pt idx="6">
                  <c:v>0.12789317668826383</c:v>
                </c:pt>
                <c:pt idx="7">
                  <c:v>0.12598628919541183</c:v>
                </c:pt>
                <c:pt idx="8">
                  <c:v>0.11915710808411799</c:v>
                </c:pt>
                <c:pt idx="9">
                  <c:v>0.11524356147158238</c:v>
                </c:pt>
                <c:pt idx="10">
                  <c:v>0.10995067495830582</c:v>
                </c:pt>
                <c:pt idx="11">
                  <c:v>0.10243243744425988</c:v>
                </c:pt>
                <c:pt idx="12">
                  <c:v>0.10064622312236793</c:v>
                </c:pt>
                <c:pt idx="13">
                  <c:v>9.7816705186919498E-2</c:v>
                </c:pt>
                <c:pt idx="14">
                  <c:v>9.0064390990702486E-2</c:v>
                </c:pt>
                <c:pt idx="15">
                  <c:v>8.6588910005602857E-2</c:v>
                </c:pt>
                <c:pt idx="16">
                  <c:v>8.5773704176114046E-2</c:v>
                </c:pt>
                <c:pt idx="17">
                  <c:v>8.4058948873066877E-2</c:v>
                </c:pt>
                <c:pt idx="18">
                  <c:v>8.267753186260067E-2</c:v>
                </c:pt>
                <c:pt idx="19">
                  <c:v>7.4128876889740694E-2</c:v>
                </c:pt>
                <c:pt idx="20">
                  <c:v>6.8734786726684913E-2</c:v>
                </c:pt>
                <c:pt idx="21">
                  <c:v>5.2203029775927438E-2</c:v>
                </c:pt>
                <c:pt idx="22">
                  <c:v>5.0809302204603793E-2</c:v>
                </c:pt>
                <c:pt idx="23">
                  <c:v>9.7816705186919498E-2</c:v>
                </c:pt>
                <c:pt idx="24">
                  <c:v>9.0064390990702486E-2</c:v>
                </c:pt>
                <c:pt idx="25">
                  <c:v>8.6588910005602857E-2</c:v>
                </c:pt>
                <c:pt idx="26">
                  <c:v>8.5773704176114046E-2</c:v>
                </c:pt>
                <c:pt idx="27">
                  <c:v>8.4058948873066877E-2</c:v>
                </c:pt>
                <c:pt idx="28">
                  <c:v>8.267753186260067E-2</c:v>
                </c:pt>
                <c:pt idx="29">
                  <c:v>7.4128876889740694E-2</c:v>
                </c:pt>
                <c:pt idx="30">
                  <c:v>8.4058948873066877E-2</c:v>
                </c:pt>
                <c:pt idx="31">
                  <c:v>8.267753186260067E-2</c:v>
                </c:pt>
                <c:pt idx="32">
                  <c:v>7.4128876889740694E-2</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 val="autoZero"/>
        <c:crossBetween val="midCat"/>
      </c:valAx>
      <c:valAx>
        <c:axId val="1389927199"/>
        <c:scaling>
          <c:orientation val="minMax"/>
        </c:scaling>
        <c:delete val="0"/>
        <c:axPos val="l"/>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Value Share LY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Value Share LY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Value Share LY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Value Share LY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Value Share LY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Value Share LY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Value Share LY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Value Share LY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25/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9/2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9/2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9/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9/2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9/2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9/2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9/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9/2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9/2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9/25/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0.xml.rels><?xml version="1.0" encoding="UTF-8" standalone="yes"?>
<Relationships xmlns="http://schemas.openxmlformats.org/package/2006/relationships"><Relationship Id="rId3" Type="http://schemas.openxmlformats.org/officeDocument/2006/relationships/chart" Target="../charts/chart46.xml"/><Relationship Id="rId7" Type="http://schemas.openxmlformats.org/officeDocument/2006/relationships/chart" Target="../charts/chart50.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chart" Target="../charts/chart49.xml"/><Relationship Id="rId5" Type="http://schemas.openxmlformats.org/officeDocument/2006/relationships/chart" Target="../charts/chart48.xml"/><Relationship Id="rId4" Type="http://schemas.openxmlformats.org/officeDocument/2006/relationships/chart" Target="../charts/chart47.xml"/></Relationships>
</file>

<file path=ppt/slides/_rels/slide11.xml.rels><?xml version="1.0" encoding="UTF-8" standalone="yes"?>
<Relationships xmlns="http://schemas.openxmlformats.org/package/2006/relationships"><Relationship Id="rId3" Type="http://schemas.openxmlformats.org/officeDocument/2006/relationships/chart" Target="../charts/chart51.xml"/><Relationship Id="rId7" Type="http://schemas.openxmlformats.org/officeDocument/2006/relationships/chart" Target="../charts/chart55.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chart" Target="../charts/chart54.xml"/><Relationship Id="rId5" Type="http://schemas.openxmlformats.org/officeDocument/2006/relationships/chart" Target="../charts/chart53.xml"/><Relationship Id="rId4" Type="http://schemas.openxmlformats.org/officeDocument/2006/relationships/chart" Target="../charts/chart52.xml"/></Relationships>
</file>

<file path=ppt/slides/_rels/slide12.xml.rels><?xml version="1.0" encoding="UTF-8" standalone="yes"?>
<Relationships xmlns="http://schemas.openxmlformats.org/package/2006/relationships"><Relationship Id="rId3" Type="http://schemas.openxmlformats.org/officeDocument/2006/relationships/chart" Target="../charts/chart56.xml"/><Relationship Id="rId7" Type="http://schemas.openxmlformats.org/officeDocument/2006/relationships/chart" Target="../charts/chart60.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chart" Target="../charts/chart57.xml"/></Relationships>
</file>

<file path=ppt/slides/_rels/slide13.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chart" Target="../charts/chart62.xml"/></Relationships>
</file>

<file path=ppt/slides/_rels/slide14.xml.rels><?xml version="1.0" encoding="UTF-8" standalone="yes"?>
<Relationships xmlns="http://schemas.openxmlformats.org/package/2006/relationships"><Relationship Id="rId3" Type="http://schemas.openxmlformats.org/officeDocument/2006/relationships/chart" Target="../charts/chart63.xml"/><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chart" Target="../charts/chart64.xml"/></Relationships>
</file>

<file path=ppt/slides/_rels/slide15.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chart" Target="../charts/chart66.xml"/></Relationships>
</file>

<file path=ppt/slides/_rels/slide16.xml.rels><?xml version="1.0" encoding="UTF-8" standalone="yes"?>
<Relationships xmlns="http://schemas.openxmlformats.org/package/2006/relationships"><Relationship Id="rId3" Type="http://schemas.openxmlformats.org/officeDocument/2006/relationships/chart" Target="../charts/chart67.xml"/><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chart" Target="../charts/chart68.xml"/></Relationships>
</file>

<file path=ppt/slides/_rels/slide17.xml.rels><?xml version="1.0" encoding="UTF-8" standalone="yes"?>
<Relationships xmlns="http://schemas.openxmlformats.org/package/2006/relationships"><Relationship Id="rId3" Type="http://schemas.openxmlformats.org/officeDocument/2006/relationships/chart" Target="../charts/chart69.xml"/><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chart" Target="../charts/chart70.xml"/></Relationships>
</file>

<file path=ppt/slides/_rels/slide18.xml.rels><?xml version="1.0" encoding="UTF-8" standalone="yes"?>
<Relationships xmlns="http://schemas.openxmlformats.org/package/2006/relationships"><Relationship Id="rId3" Type="http://schemas.openxmlformats.org/officeDocument/2006/relationships/chart" Target="../charts/chart71.xml"/><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chart" Target="../charts/chart72.xml"/></Relationships>
</file>

<file path=ppt/slides/_rels/slide19.xml.rels><?xml version="1.0" encoding="UTF-8" standalone="yes"?>
<Relationships xmlns="http://schemas.openxmlformats.org/package/2006/relationships"><Relationship Id="rId3" Type="http://schemas.openxmlformats.org/officeDocument/2006/relationships/chart" Target="../charts/chart73.xml"/><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chart" Target="../charts/chart74.xml"/></Relationships>
</file>

<file path=ppt/slides/_rels/slide2.xml.rels><?xml version="1.0" encoding="UTF-8" standalone="yes"?>
<Relationships xmlns="http://schemas.openxmlformats.org/package/2006/relationships"><Relationship Id="rId3" Type="http://schemas.openxmlformats.org/officeDocument/2006/relationships/chart" Target="../charts/chart6.xml"/><Relationship Id="rId7" Type="http://schemas.openxmlformats.org/officeDocument/2006/relationships/chart" Target="../charts/chart10.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20.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chart" Target="../charts/chart76.xml"/></Relationships>
</file>

<file path=ppt/slides/_rels/slide21.xml.rels><?xml version="1.0" encoding="UTF-8" standalone="yes"?>
<Relationships xmlns="http://schemas.openxmlformats.org/package/2006/relationships"><Relationship Id="rId3" Type="http://schemas.openxmlformats.org/officeDocument/2006/relationships/chart" Target="../charts/chart77.xml"/><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chart" Target="../charts/chart78.xml"/></Relationships>
</file>

<file path=ppt/slides/_rels/slide22.xml.rels><?xml version="1.0" encoding="UTF-8" standalone="yes"?>
<Relationships xmlns="http://schemas.openxmlformats.org/package/2006/relationships"><Relationship Id="rId3" Type="http://schemas.openxmlformats.org/officeDocument/2006/relationships/chart" Target="../charts/chart79.xml"/><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chart" Target="../charts/chart80.xml"/></Relationships>
</file>

<file path=ppt/slides/_rels/slide23.xml.rels><?xml version="1.0" encoding="UTF-8" standalone="yes"?>
<Relationships xmlns="http://schemas.openxmlformats.org/package/2006/relationships"><Relationship Id="rId3" Type="http://schemas.openxmlformats.org/officeDocument/2006/relationships/chart" Target="../charts/chart81.xml"/><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chart" Target="../charts/chart82.xml"/></Relationships>
</file>

<file path=ppt/slides/_rels/slide24.xml.rels><?xml version="1.0" encoding="UTF-8" standalone="yes"?>
<Relationships xmlns="http://schemas.openxmlformats.org/package/2006/relationships"><Relationship Id="rId3" Type="http://schemas.openxmlformats.org/officeDocument/2006/relationships/chart" Target="../charts/chart83.xml"/><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chart" Target="../charts/chart84.xml"/></Relationships>
</file>

<file path=ppt/slides/_rels/slide25.xml.rels><?xml version="1.0" encoding="UTF-8" standalone="yes"?>
<Relationships xmlns="http://schemas.openxmlformats.org/package/2006/relationships"><Relationship Id="rId3" Type="http://schemas.openxmlformats.org/officeDocument/2006/relationships/chart" Target="../charts/chart85.xml"/><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chart" Target="../charts/chart86.xml"/></Relationships>
</file>

<file path=ppt/slides/_rels/slide26.xml.rels><?xml version="1.0" encoding="UTF-8" standalone="yes"?>
<Relationships xmlns="http://schemas.openxmlformats.org/package/2006/relationships"><Relationship Id="rId3" Type="http://schemas.openxmlformats.org/officeDocument/2006/relationships/chart" Target="../charts/chart87.xml"/><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chart" Target="../charts/chart88.xml"/></Relationships>
</file>

<file path=ppt/slides/_rels/slide27.xml.rels><?xml version="1.0" encoding="UTF-8" standalone="yes"?>
<Relationships xmlns="http://schemas.openxmlformats.org/package/2006/relationships"><Relationship Id="rId3" Type="http://schemas.openxmlformats.org/officeDocument/2006/relationships/chart" Target="../charts/chart89.xml"/><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chart" Target="../charts/chart90.xml"/></Relationships>
</file>

<file path=ppt/slides/_rels/slide28.xml.rels><?xml version="1.0" encoding="UTF-8" standalone="yes"?>
<Relationships xmlns="http://schemas.openxmlformats.org/package/2006/relationships"><Relationship Id="rId3" Type="http://schemas.openxmlformats.org/officeDocument/2006/relationships/chart" Target="../charts/chart91.xml"/><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chart" Target="../charts/chart92.xml"/></Relationships>
</file>

<file path=ppt/slides/_rels/slide29.xml.rels><?xml version="1.0" encoding="UTF-8" standalone="yes"?>
<Relationships xmlns="http://schemas.openxmlformats.org/package/2006/relationships"><Relationship Id="rId3" Type="http://schemas.openxmlformats.org/officeDocument/2006/relationships/chart" Target="../charts/chart93.xml"/><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chart" Target="../charts/chart95.xml"/><Relationship Id="rId4" Type="http://schemas.openxmlformats.org/officeDocument/2006/relationships/chart" Target="../charts/chart94.xml"/></Relationships>
</file>

<file path=ppt/slides/_rels/slide3.xml.rels><?xml version="1.0" encoding="UTF-8" standalone="yes"?>
<Relationships xmlns="http://schemas.openxmlformats.org/package/2006/relationships"><Relationship Id="rId3" Type="http://schemas.openxmlformats.org/officeDocument/2006/relationships/chart" Target="../charts/chart11.xml"/><Relationship Id="rId7" Type="http://schemas.openxmlformats.org/officeDocument/2006/relationships/chart" Target="../charts/chart15.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30.xml.rels><?xml version="1.0" encoding="UTF-8" standalone="yes"?>
<Relationships xmlns="http://schemas.openxmlformats.org/package/2006/relationships"><Relationship Id="rId3" Type="http://schemas.openxmlformats.org/officeDocument/2006/relationships/chart" Target="../charts/chart96.xml"/><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chart" Target="../charts/chart98.xml"/><Relationship Id="rId4" Type="http://schemas.openxmlformats.org/officeDocument/2006/relationships/chart" Target="../charts/chart97.xml"/></Relationships>
</file>

<file path=ppt/slides/_rels/slide31.xml.rels><?xml version="1.0" encoding="UTF-8" standalone="yes"?>
<Relationships xmlns="http://schemas.openxmlformats.org/package/2006/relationships"><Relationship Id="rId3" Type="http://schemas.openxmlformats.org/officeDocument/2006/relationships/chart" Target="../charts/chart99.xml"/><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chart" Target="../charts/chart101.xml"/><Relationship Id="rId4" Type="http://schemas.openxmlformats.org/officeDocument/2006/relationships/chart" Target="../charts/chart100.xml"/></Relationships>
</file>

<file path=ppt/slides/_rels/slide32.xml.rels><?xml version="1.0" encoding="UTF-8" standalone="yes"?>
<Relationships xmlns="http://schemas.openxmlformats.org/package/2006/relationships"><Relationship Id="rId3" Type="http://schemas.openxmlformats.org/officeDocument/2006/relationships/chart" Target="../charts/chart102.xml"/><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chart" Target="../charts/chart104.xml"/><Relationship Id="rId4" Type="http://schemas.openxmlformats.org/officeDocument/2006/relationships/chart" Target="../charts/chart103.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1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10.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chart" Target="../charts/chart1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chart" Target="../charts/chart11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chart" Target="../charts/chart16.xml"/><Relationship Id="rId7" Type="http://schemas.openxmlformats.org/officeDocument/2006/relationships/chart" Target="../charts/chart20.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chart" Target="../charts/chart17.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1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chart" Target="../charts/chart128.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134.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chart" Target="../charts/chart13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xml.rels><?xml version="1.0" encoding="UTF-8" standalone="yes"?>
<Relationships xmlns="http://schemas.openxmlformats.org/package/2006/relationships"><Relationship Id="rId8" Type="http://schemas.openxmlformats.org/officeDocument/2006/relationships/chart" Target="../charts/chart139.xml"/><Relationship Id="rId3" Type="http://schemas.openxmlformats.org/officeDocument/2006/relationships/notesSlide" Target="../notesSlides/notesSlide49.xml"/><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37.xml"/><Relationship Id="rId11" Type="http://schemas.openxmlformats.org/officeDocument/2006/relationships/chart" Target="../charts/chart142.xml"/><Relationship Id="rId5" Type="http://schemas.openxmlformats.org/officeDocument/2006/relationships/image" Target="../media/image28.emf"/><Relationship Id="rId10" Type="http://schemas.openxmlformats.org/officeDocument/2006/relationships/chart" Target="../charts/chart141.xml"/><Relationship Id="rId4" Type="http://schemas.openxmlformats.org/officeDocument/2006/relationships/oleObject" Target="../embeddings/oleObject27.bin"/><Relationship Id="rId9" Type="http://schemas.openxmlformats.org/officeDocument/2006/relationships/chart" Target="../charts/chart140.xml"/></Relationships>
</file>

<file path=ppt/slides/_rels/slide5.xml.rels><?xml version="1.0" encoding="UTF-8" standalone="yes"?>
<Relationships xmlns="http://schemas.openxmlformats.org/package/2006/relationships"><Relationship Id="rId3" Type="http://schemas.openxmlformats.org/officeDocument/2006/relationships/chart" Target="../charts/chart21.xml"/><Relationship Id="rId7" Type="http://schemas.openxmlformats.org/officeDocument/2006/relationships/chart" Target="../charts/chart25.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chart" Target="../charts/chart22.xml"/></Relationships>
</file>

<file path=ppt/slides/_rels/slide50.xml.rels><?xml version="1.0" encoding="UTF-8" standalone="yes"?>
<Relationships xmlns="http://schemas.openxmlformats.org/package/2006/relationships"><Relationship Id="rId8" Type="http://schemas.openxmlformats.org/officeDocument/2006/relationships/chart" Target="../charts/chart145.xml"/><Relationship Id="rId3" Type="http://schemas.openxmlformats.org/officeDocument/2006/relationships/notesSlide" Target="../notesSlides/notesSlide50.xml"/><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43.xml"/><Relationship Id="rId11" Type="http://schemas.openxmlformats.org/officeDocument/2006/relationships/chart" Target="../charts/chart148.xml"/><Relationship Id="rId5" Type="http://schemas.openxmlformats.org/officeDocument/2006/relationships/image" Target="../media/image28.emf"/><Relationship Id="rId10" Type="http://schemas.openxmlformats.org/officeDocument/2006/relationships/chart" Target="../charts/chart147.xml"/><Relationship Id="rId4" Type="http://schemas.openxmlformats.org/officeDocument/2006/relationships/oleObject" Target="../embeddings/oleObject27.bin"/><Relationship Id="rId9" Type="http://schemas.openxmlformats.org/officeDocument/2006/relationships/chart" Target="../charts/chart146.xml"/></Relationships>
</file>

<file path=ppt/slides/_rels/slide51.xml.rels><?xml version="1.0" encoding="UTF-8" standalone="yes"?>
<Relationships xmlns="http://schemas.openxmlformats.org/package/2006/relationships"><Relationship Id="rId8" Type="http://schemas.openxmlformats.org/officeDocument/2006/relationships/chart" Target="../charts/chart151.xml"/><Relationship Id="rId3" Type="http://schemas.openxmlformats.org/officeDocument/2006/relationships/notesSlide" Target="../notesSlides/notesSlide51.xml"/><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149.xml"/><Relationship Id="rId11" Type="http://schemas.openxmlformats.org/officeDocument/2006/relationships/chart" Target="../charts/chart154.xml"/><Relationship Id="rId5" Type="http://schemas.openxmlformats.org/officeDocument/2006/relationships/image" Target="../media/image28.emf"/><Relationship Id="rId10" Type="http://schemas.openxmlformats.org/officeDocument/2006/relationships/chart" Target="../charts/chart153.xml"/><Relationship Id="rId4" Type="http://schemas.openxmlformats.org/officeDocument/2006/relationships/oleObject" Target="../embeddings/oleObject27.bin"/><Relationship Id="rId9" Type="http://schemas.openxmlformats.org/officeDocument/2006/relationships/chart" Target="../charts/chart152.xml"/></Relationships>
</file>

<file path=ppt/slides/_rels/slide52.xml.rels><?xml version="1.0" encoding="UTF-8" standalone="yes"?>
<Relationships xmlns="http://schemas.openxmlformats.org/package/2006/relationships"><Relationship Id="rId8" Type="http://schemas.openxmlformats.org/officeDocument/2006/relationships/chart" Target="../charts/chart157.xml"/><Relationship Id="rId3" Type="http://schemas.openxmlformats.org/officeDocument/2006/relationships/notesSlide" Target="../notesSlides/notesSlide52.xml"/><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155.xml"/><Relationship Id="rId11" Type="http://schemas.openxmlformats.org/officeDocument/2006/relationships/chart" Target="../charts/chart160.xml"/><Relationship Id="rId5" Type="http://schemas.openxmlformats.org/officeDocument/2006/relationships/image" Target="../media/image28.emf"/><Relationship Id="rId10" Type="http://schemas.openxmlformats.org/officeDocument/2006/relationships/chart" Target="../charts/chart159.xml"/><Relationship Id="rId4" Type="http://schemas.openxmlformats.org/officeDocument/2006/relationships/oleObject" Target="../embeddings/oleObject27.bin"/><Relationship Id="rId9" Type="http://schemas.openxmlformats.org/officeDocument/2006/relationships/chart" Target="../charts/chart158.xml"/></Relationships>
</file>

<file path=ppt/slides/_rels/slide53.xml.rels><?xml version="1.0" encoding="UTF-8" standalone="yes"?>
<Relationships xmlns="http://schemas.openxmlformats.org/package/2006/relationships"><Relationship Id="rId8" Type="http://schemas.openxmlformats.org/officeDocument/2006/relationships/chart" Target="../charts/chart163.xml"/><Relationship Id="rId3" Type="http://schemas.openxmlformats.org/officeDocument/2006/relationships/notesSlide" Target="../notesSlides/notesSlide53.xml"/><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161.xml"/><Relationship Id="rId11" Type="http://schemas.openxmlformats.org/officeDocument/2006/relationships/chart" Target="../charts/chart166.xml"/><Relationship Id="rId5" Type="http://schemas.openxmlformats.org/officeDocument/2006/relationships/image" Target="../media/image28.emf"/><Relationship Id="rId10" Type="http://schemas.openxmlformats.org/officeDocument/2006/relationships/chart" Target="../charts/chart165.xml"/><Relationship Id="rId4" Type="http://schemas.openxmlformats.org/officeDocument/2006/relationships/oleObject" Target="../embeddings/oleObject27.bin"/><Relationship Id="rId9" Type="http://schemas.openxmlformats.org/officeDocument/2006/relationships/chart" Target="../charts/chart164.xml"/></Relationships>
</file>

<file path=ppt/slides/_rels/slide54.xml.rels><?xml version="1.0" encoding="UTF-8" standalone="yes"?>
<Relationships xmlns="http://schemas.openxmlformats.org/package/2006/relationships"><Relationship Id="rId8" Type="http://schemas.openxmlformats.org/officeDocument/2006/relationships/chart" Target="../charts/chart169.xml"/><Relationship Id="rId3" Type="http://schemas.openxmlformats.org/officeDocument/2006/relationships/notesSlide" Target="../notesSlides/notesSlide54.xml"/><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167.xml"/><Relationship Id="rId11" Type="http://schemas.openxmlformats.org/officeDocument/2006/relationships/chart" Target="../charts/chart172.xml"/><Relationship Id="rId5" Type="http://schemas.openxmlformats.org/officeDocument/2006/relationships/image" Target="../media/image28.emf"/><Relationship Id="rId10" Type="http://schemas.openxmlformats.org/officeDocument/2006/relationships/chart" Target="../charts/chart171.xml"/><Relationship Id="rId4" Type="http://schemas.openxmlformats.org/officeDocument/2006/relationships/oleObject" Target="../embeddings/oleObject27.bin"/><Relationship Id="rId9" Type="http://schemas.openxmlformats.org/officeDocument/2006/relationships/chart" Target="../charts/chart170.xml"/></Relationships>
</file>

<file path=ppt/slides/_rels/slide55.xml.rels><?xml version="1.0" encoding="UTF-8" standalone="yes"?>
<Relationships xmlns="http://schemas.openxmlformats.org/package/2006/relationships"><Relationship Id="rId8" Type="http://schemas.openxmlformats.org/officeDocument/2006/relationships/chart" Target="../charts/chart175.xml"/><Relationship Id="rId3" Type="http://schemas.openxmlformats.org/officeDocument/2006/relationships/notesSlide" Target="../notesSlides/notesSlide55.xml"/><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173.xml"/><Relationship Id="rId11" Type="http://schemas.openxmlformats.org/officeDocument/2006/relationships/chart" Target="../charts/chart178.xml"/><Relationship Id="rId5" Type="http://schemas.openxmlformats.org/officeDocument/2006/relationships/image" Target="../media/image28.emf"/><Relationship Id="rId10" Type="http://schemas.openxmlformats.org/officeDocument/2006/relationships/chart" Target="../charts/chart177.xml"/><Relationship Id="rId4" Type="http://schemas.openxmlformats.org/officeDocument/2006/relationships/oleObject" Target="../embeddings/oleObject27.bin"/><Relationship Id="rId9" Type="http://schemas.openxmlformats.org/officeDocument/2006/relationships/chart" Target="../charts/chart176.xml"/></Relationships>
</file>

<file path=ppt/slides/_rels/slide56.xml.rels><?xml version="1.0" encoding="UTF-8" standalone="yes"?>
<Relationships xmlns="http://schemas.openxmlformats.org/package/2006/relationships"><Relationship Id="rId8" Type="http://schemas.openxmlformats.org/officeDocument/2006/relationships/chart" Target="../charts/chart181.xml"/><Relationship Id="rId3" Type="http://schemas.openxmlformats.org/officeDocument/2006/relationships/notesSlide" Target="../notesSlides/notesSlide56.xml"/><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179.xml"/><Relationship Id="rId11" Type="http://schemas.openxmlformats.org/officeDocument/2006/relationships/chart" Target="../charts/chart184.xml"/><Relationship Id="rId5" Type="http://schemas.openxmlformats.org/officeDocument/2006/relationships/image" Target="../media/image28.emf"/><Relationship Id="rId10" Type="http://schemas.openxmlformats.org/officeDocument/2006/relationships/chart" Target="../charts/chart183.xml"/><Relationship Id="rId4" Type="http://schemas.openxmlformats.org/officeDocument/2006/relationships/oleObject" Target="../embeddings/oleObject27.bin"/><Relationship Id="rId9" Type="http://schemas.openxmlformats.org/officeDocument/2006/relationships/chart" Target="../charts/chart182.xml"/></Relationships>
</file>

<file path=ppt/slides/_rels/slide57.xml.rels><?xml version="1.0" encoding="UTF-8" standalone="yes"?>
<Relationships xmlns="http://schemas.openxmlformats.org/package/2006/relationships"><Relationship Id="rId8" Type="http://schemas.openxmlformats.org/officeDocument/2006/relationships/chart" Target="../charts/chart187.xml"/><Relationship Id="rId3" Type="http://schemas.openxmlformats.org/officeDocument/2006/relationships/notesSlide" Target="../notesSlides/notesSlide57.xml"/><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185.xml"/><Relationship Id="rId11" Type="http://schemas.openxmlformats.org/officeDocument/2006/relationships/chart" Target="../charts/chart190.xml"/><Relationship Id="rId5" Type="http://schemas.openxmlformats.org/officeDocument/2006/relationships/image" Target="../media/image28.emf"/><Relationship Id="rId10" Type="http://schemas.openxmlformats.org/officeDocument/2006/relationships/chart" Target="../charts/chart189.xml"/><Relationship Id="rId4" Type="http://schemas.openxmlformats.org/officeDocument/2006/relationships/oleObject" Target="../embeddings/oleObject27.bin"/><Relationship Id="rId9" Type="http://schemas.openxmlformats.org/officeDocument/2006/relationships/chart" Target="../charts/chart188.xml"/></Relationships>
</file>

<file path=ppt/slides/_rels/slide58.xml.rels><?xml version="1.0" encoding="UTF-8" standalone="yes"?>
<Relationships xmlns="http://schemas.openxmlformats.org/package/2006/relationships"><Relationship Id="rId8" Type="http://schemas.openxmlformats.org/officeDocument/2006/relationships/chart" Target="../charts/chart193.xml"/><Relationship Id="rId3" Type="http://schemas.openxmlformats.org/officeDocument/2006/relationships/notesSlide" Target="../notesSlides/notesSlide58.xml"/><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191.xml"/><Relationship Id="rId11" Type="http://schemas.openxmlformats.org/officeDocument/2006/relationships/chart" Target="../charts/chart196.xml"/><Relationship Id="rId5" Type="http://schemas.openxmlformats.org/officeDocument/2006/relationships/image" Target="../media/image28.emf"/><Relationship Id="rId10" Type="http://schemas.openxmlformats.org/officeDocument/2006/relationships/chart" Target="../charts/chart195.xml"/><Relationship Id="rId4" Type="http://schemas.openxmlformats.org/officeDocument/2006/relationships/oleObject" Target="../embeddings/oleObject27.bin"/><Relationship Id="rId9" Type="http://schemas.openxmlformats.org/officeDocument/2006/relationships/chart" Target="../charts/chart194.xml"/></Relationships>
</file>

<file path=ppt/slides/_rels/slide59.xml.rels><?xml version="1.0" encoding="UTF-8" standalone="yes"?>
<Relationships xmlns="http://schemas.openxmlformats.org/package/2006/relationships"><Relationship Id="rId8" Type="http://schemas.openxmlformats.org/officeDocument/2006/relationships/chart" Target="../charts/chart199.xml"/><Relationship Id="rId3" Type="http://schemas.openxmlformats.org/officeDocument/2006/relationships/notesSlide" Target="../notesSlides/notesSlide59.xml"/><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197.xml"/><Relationship Id="rId11" Type="http://schemas.openxmlformats.org/officeDocument/2006/relationships/chart" Target="../charts/chart202.xml"/><Relationship Id="rId5" Type="http://schemas.openxmlformats.org/officeDocument/2006/relationships/image" Target="../media/image28.emf"/><Relationship Id="rId10" Type="http://schemas.openxmlformats.org/officeDocument/2006/relationships/chart" Target="../charts/chart201.xml"/><Relationship Id="rId4" Type="http://schemas.openxmlformats.org/officeDocument/2006/relationships/oleObject" Target="../embeddings/oleObject27.bin"/><Relationship Id="rId9" Type="http://schemas.openxmlformats.org/officeDocument/2006/relationships/chart" Target="../charts/chart200.xml"/></Relationships>
</file>

<file path=ppt/slides/_rels/slide6.xml.rels><?xml version="1.0" encoding="UTF-8" standalone="yes"?>
<Relationships xmlns="http://schemas.openxmlformats.org/package/2006/relationships"><Relationship Id="rId3" Type="http://schemas.openxmlformats.org/officeDocument/2006/relationships/chart" Target="../charts/chart26.xml"/><Relationship Id="rId7" Type="http://schemas.openxmlformats.org/officeDocument/2006/relationships/chart" Target="../charts/chart30.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chart" Target="../charts/chart27.xml"/></Relationships>
</file>

<file path=ppt/slides/_rels/slide60.xml.rels><?xml version="1.0" encoding="UTF-8" standalone="yes"?>
<Relationships xmlns="http://schemas.openxmlformats.org/package/2006/relationships"><Relationship Id="rId8" Type="http://schemas.openxmlformats.org/officeDocument/2006/relationships/chart" Target="../charts/chart205.xml"/><Relationship Id="rId3" Type="http://schemas.openxmlformats.org/officeDocument/2006/relationships/notesSlide" Target="../notesSlides/notesSlide60.xml"/><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203.xml"/><Relationship Id="rId11" Type="http://schemas.openxmlformats.org/officeDocument/2006/relationships/chart" Target="../charts/chart208.xml"/><Relationship Id="rId5" Type="http://schemas.openxmlformats.org/officeDocument/2006/relationships/image" Target="../media/image28.emf"/><Relationship Id="rId10" Type="http://schemas.openxmlformats.org/officeDocument/2006/relationships/chart" Target="../charts/chart207.xml"/><Relationship Id="rId4" Type="http://schemas.openxmlformats.org/officeDocument/2006/relationships/oleObject" Target="../embeddings/oleObject27.bin"/><Relationship Id="rId9" Type="http://schemas.openxmlformats.org/officeDocument/2006/relationships/chart" Target="../charts/chart206.xml"/></Relationships>
</file>

<file path=ppt/slides/_rels/slide61.xml.rels><?xml version="1.0" encoding="UTF-8" standalone="yes"?>
<Relationships xmlns="http://schemas.openxmlformats.org/package/2006/relationships"><Relationship Id="rId8" Type="http://schemas.openxmlformats.org/officeDocument/2006/relationships/chart" Target="../charts/chart211.xml"/><Relationship Id="rId3" Type="http://schemas.openxmlformats.org/officeDocument/2006/relationships/notesSlide" Target="../notesSlides/notesSlide61.xml"/><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209.xml"/><Relationship Id="rId11" Type="http://schemas.openxmlformats.org/officeDocument/2006/relationships/chart" Target="../charts/chart214.xml"/><Relationship Id="rId5" Type="http://schemas.openxmlformats.org/officeDocument/2006/relationships/image" Target="../media/image28.emf"/><Relationship Id="rId10" Type="http://schemas.openxmlformats.org/officeDocument/2006/relationships/chart" Target="../charts/chart213.xml"/><Relationship Id="rId4" Type="http://schemas.openxmlformats.org/officeDocument/2006/relationships/oleObject" Target="../embeddings/oleObject27.bin"/><Relationship Id="rId9" Type="http://schemas.openxmlformats.org/officeDocument/2006/relationships/chart" Target="../charts/chart212.xml"/></Relationships>
</file>

<file path=ppt/slides/_rels/slide62.xml.rels><?xml version="1.0" encoding="UTF-8" standalone="yes"?>
<Relationships xmlns="http://schemas.openxmlformats.org/package/2006/relationships"><Relationship Id="rId8" Type="http://schemas.openxmlformats.org/officeDocument/2006/relationships/chart" Target="../charts/chart217.xml"/><Relationship Id="rId3" Type="http://schemas.openxmlformats.org/officeDocument/2006/relationships/notesSlide" Target="../notesSlides/notesSlide62.xml"/><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215.xml"/><Relationship Id="rId11" Type="http://schemas.openxmlformats.org/officeDocument/2006/relationships/chart" Target="../charts/chart220.xml"/><Relationship Id="rId5" Type="http://schemas.openxmlformats.org/officeDocument/2006/relationships/image" Target="../media/image28.emf"/><Relationship Id="rId10" Type="http://schemas.openxmlformats.org/officeDocument/2006/relationships/chart" Target="../charts/chart219.xml"/><Relationship Id="rId4" Type="http://schemas.openxmlformats.org/officeDocument/2006/relationships/oleObject" Target="../embeddings/oleObject27.bin"/><Relationship Id="rId9" Type="http://schemas.openxmlformats.org/officeDocument/2006/relationships/chart" Target="../charts/chart218.xml"/></Relationships>
</file>

<file path=ppt/slides/_rels/slide63.xml.rels><?xml version="1.0" encoding="UTF-8" standalone="yes"?>
<Relationships xmlns="http://schemas.openxmlformats.org/package/2006/relationships"><Relationship Id="rId8" Type="http://schemas.openxmlformats.org/officeDocument/2006/relationships/chart" Target="../charts/chart223.xml"/><Relationship Id="rId3" Type="http://schemas.openxmlformats.org/officeDocument/2006/relationships/notesSlide" Target="../notesSlides/notesSlide63.xml"/><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221.xml"/><Relationship Id="rId11" Type="http://schemas.openxmlformats.org/officeDocument/2006/relationships/chart" Target="../charts/chart226.xml"/><Relationship Id="rId5" Type="http://schemas.openxmlformats.org/officeDocument/2006/relationships/image" Target="../media/image28.emf"/><Relationship Id="rId10" Type="http://schemas.openxmlformats.org/officeDocument/2006/relationships/chart" Target="../charts/chart225.xml"/><Relationship Id="rId4" Type="http://schemas.openxmlformats.org/officeDocument/2006/relationships/oleObject" Target="../embeddings/oleObject27.bin"/><Relationship Id="rId9" Type="http://schemas.openxmlformats.org/officeDocument/2006/relationships/chart" Target="../charts/chart224.xml"/></Relationships>
</file>

<file path=ppt/slides/_rels/slide64.xml.rels><?xml version="1.0" encoding="UTF-8" standalone="yes"?>
<Relationships xmlns="http://schemas.openxmlformats.org/package/2006/relationships"><Relationship Id="rId8" Type="http://schemas.openxmlformats.org/officeDocument/2006/relationships/chart" Target="../charts/chart229.xml"/><Relationship Id="rId3" Type="http://schemas.openxmlformats.org/officeDocument/2006/relationships/notesSlide" Target="../notesSlides/notesSlide64.xml"/><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227.xml"/><Relationship Id="rId11" Type="http://schemas.openxmlformats.org/officeDocument/2006/relationships/chart" Target="../charts/chart232.xml"/><Relationship Id="rId5" Type="http://schemas.openxmlformats.org/officeDocument/2006/relationships/image" Target="../media/image28.emf"/><Relationship Id="rId10" Type="http://schemas.openxmlformats.org/officeDocument/2006/relationships/chart" Target="../charts/chart231.xml"/><Relationship Id="rId4" Type="http://schemas.openxmlformats.org/officeDocument/2006/relationships/oleObject" Target="../embeddings/oleObject27.bin"/><Relationship Id="rId9" Type="http://schemas.openxmlformats.org/officeDocument/2006/relationships/chart" Target="../charts/chart230.xml"/></Relationships>
</file>

<file path=ppt/slides/_rels/slide65.xml.rels><?xml version="1.0" encoding="UTF-8" standalone="yes"?>
<Relationships xmlns="http://schemas.openxmlformats.org/package/2006/relationships"><Relationship Id="rId8" Type="http://schemas.openxmlformats.org/officeDocument/2006/relationships/chart" Target="../charts/chart235.xml"/><Relationship Id="rId3" Type="http://schemas.openxmlformats.org/officeDocument/2006/relationships/notesSlide" Target="../notesSlides/notesSlide65.xml"/><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233.xml"/><Relationship Id="rId11" Type="http://schemas.openxmlformats.org/officeDocument/2006/relationships/chart" Target="../charts/chart238.xml"/><Relationship Id="rId5" Type="http://schemas.openxmlformats.org/officeDocument/2006/relationships/image" Target="../media/image28.emf"/><Relationship Id="rId10" Type="http://schemas.openxmlformats.org/officeDocument/2006/relationships/chart" Target="../charts/chart237.xml"/><Relationship Id="rId4" Type="http://schemas.openxmlformats.org/officeDocument/2006/relationships/oleObject" Target="../embeddings/oleObject27.bin"/><Relationship Id="rId9" Type="http://schemas.openxmlformats.org/officeDocument/2006/relationships/chart" Target="../charts/chart236.xml"/></Relationships>
</file>

<file path=ppt/slides/_rels/slide66.xml.rels><?xml version="1.0" encoding="UTF-8" standalone="yes"?>
<Relationships xmlns="http://schemas.openxmlformats.org/package/2006/relationships"><Relationship Id="rId8" Type="http://schemas.openxmlformats.org/officeDocument/2006/relationships/chart" Target="../charts/chart241.xml"/><Relationship Id="rId3" Type="http://schemas.openxmlformats.org/officeDocument/2006/relationships/notesSlide" Target="../notesSlides/notesSlide66.xml"/><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239.xml"/><Relationship Id="rId11" Type="http://schemas.openxmlformats.org/officeDocument/2006/relationships/chart" Target="../charts/chart244.xml"/><Relationship Id="rId5" Type="http://schemas.openxmlformats.org/officeDocument/2006/relationships/image" Target="../media/image28.emf"/><Relationship Id="rId10" Type="http://schemas.openxmlformats.org/officeDocument/2006/relationships/chart" Target="../charts/chart243.xml"/><Relationship Id="rId4" Type="http://schemas.openxmlformats.org/officeDocument/2006/relationships/oleObject" Target="../embeddings/oleObject27.bin"/><Relationship Id="rId9" Type="http://schemas.openxmlformats.org/officeDocument/2006/relationships/chart" Target="../charts/chart242.xml"/></Relationships>
</file>

<file path=ppt/slides/_rels/slide67.xml.rels><?xml version="1.0" encoding="UTF-8" standalone="yes"?>
<Relationships xmlns="http://schemas.openxmlformats.org/package/2006/relationships"><Relationship Id="rId8" Type="http://schemas.openxmlformats.org/officeDocument/2006/relationships/chart" Target="../charts/chart247.xml"/><Relationship Id="rId3" Type="http://schemas.openxmlformats.org/officeDocument/2006/relationships/notesSlide" Target="../notesSlides/notesSlide67.xml"/><Relationship Id="rId7" Type="http://schemas.openxmlformats.org/officeDocument/2006/relationships/chart" Target="../charts/chart246.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245.xml"/><Relationship Id="rId11" Type="http://schemas.openxmlformats.org/officeDocument/2006/relationships/chart" Target="../charts/chart250.xml"/><Relationship Id="rId5" Type="http://schemas.openxmlformats.org/officeDocument/2006/relationships/image" Target="../media/image28.emf"/><Relationship Id="rId10" Type="http://schemas.openxmlformats.org/officeDocument/2006/relationships/chart" Target="../charts/chart249.xml"/><Relationship Id="rId4" Type="http://schemas.openxmlformats.org/officeDocument/2006/relationships/oleObject" Target="../embeddings/oleObject27.bin"/><Relationship Id="rId9" Type="http://schemas.openxmlformats.org/officeDocument/2006/relationships/chart" Target="../charts/chart248.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51.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52.xml"/></Relationships>
</file>

<file path=ppt/slides/_rels/slide7.xml.rels><?xml version="1.0" encoding="UTF-8" standalone="yes"?>
<Relationships xmlns="http://schemas.openxmlformats.org/package/2006/relationships"><Relationship Id="rId3" Type="http://schemas.openxmlformats.org/officeDocument/2006/relationships/chart" Target="../charts/chart31.xml"/><Relationship Id="rId7" Type="http://schemas.openxmlformats.org/officeDocument/2006/relationships/chart" Target="../charts/chart35.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chart" Target="../charts/chart32.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53.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54.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55.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56.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57.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58.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59.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60.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61.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62.xml"/></Relationships>
</file>

<file path=ppt/slides/_rels/slide8.xml.rels><?xml version="1.0" encoding="UTF-8" standalone="yes"?>
<Relationships xmlns="http://schemas.openxmlformats.org/package/2006/relationships"><Relationship Id="rId3" Type="http://schemas.openxmlformats.org/officeDocument/2006/relationships/chart" Target="../charts/chart36.xml"/><Relationship Id="rId7" Type="http://schemas.openxmlformats.org/officeDocument/2006/relationships/chart" Target="../charts/chart40.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chart" Target="../charts/chart37.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image" Target="../media/image29.emf"/><Relationship Id="rId5" Type="http://schemas.openxmlformats.org/officeDocument/2006/relationships/oleObject" Target="../embeddings/oleObject28.bin"/><Relationship Id="rId4" Type="http://schemas.openxmlformats.org/officeDocument/2006/relationships/chart" Target="../charts/chart263.xml"/></Relationships>
</file>

<file path=ppt/slides/_rels/slide9.xml.rels><?xml version="1.0" encoding="UTF-8" standalone="yes"?>
<Relationships xmlns="http://schemas.openxmlformats.org/package/2006/relationships"><Relationship Id="rId3" Type="http://schemas.openxmlformats.org/officeDocument/2006/relationships/chart" Target="../charts/chart41.xml"/><Relationship Id="rId7" Type="http://schemas.openxmlformats.org/officeDocument/2006/relationships/chart" Target="../charts/chart45.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chart" Target="../charts/char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41492222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12736164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22922649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7429183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27658553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22587631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21768537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22907705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14011869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40374097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9217536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38231612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24959673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18568905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19107171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28943101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2114402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12717007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14704185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8251286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19753566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25/2025</a:t>
            </a:fld>
            <a:endParaRPr lang="en-US"/>
          </a:p>
        </p:txBody>
      </p:sp>
    </p:spTree>
    <p:extLst>
      <p:ext uri="{BB962C8B-B14F-4D97-AF65-F5344CB8AC3E}">
        <p14:creationId xmlns:p14="http://schemas.microsoft.com/office/powerpoint/2010/main" val="26604196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2367208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25/2025</a:t>
            </a:fld>
            <a:endParaRPr lang="en-US"/>
          </a:p>
        </p:txBody>
      </p:sp>
    </p:spTree>
    <p:extLst>
      <p:ext uri="{BB962C8B-B14F-4D97-AF65-F5344CB8AC3E}">
        <p14:creationId xmlns:p14="http://schemas.microsoft.com/office/powerpoint/2010/main" val="16272471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25/2025</a:t>
            </a:fld>
            <a:endParaRPr lang="en-US"/>
          </a:p>
        </p:txBody>
      </p:sp>
    </p:spTree>
    <p:extLst>
      <p:ext uri="{BB962C8B-B14F-4D97-AF65-F5344CB8AC3E}">
        <p14:creationId xmlns:p14="http://schemas.microsoft.com/office/powerpoint/2010/main" val="24996796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25/2025</a:t>
            </a:fld>
            <a:endParaRPr lang="en-US"/>
          </a:p>
        </p:txBody>
      </p:sp>
    </p:spTree>
    <p:extLst>
      <p:ext uri="{BB962C8B-B14F-4D97-AF65-F5344CB8AC3E}">
        <p14:creationId xmlns:p14="http://schemas.microsoft.com/office/powerpoint/2010/main" val="41646775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279271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8650882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091613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0648548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332251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020343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7315111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38157162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0703360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1970397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450149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1379387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08557943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145699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7366357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7979986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221590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8912521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32135302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132680136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29850743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6573453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373895677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422587387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197452105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20143895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224895132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212277276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10830129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253694104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174770290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393593432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94330620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241638663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303368120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217247231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280144475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106489076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53115894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27527140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117464756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16081136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59817049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63821488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27887167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9960712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13422193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73558996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67979722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66548502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55230443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172930460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77126132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6412681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3.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38</TotalTime>
  <Words>12793</Words>
  <Application>Microsoft Office PowerPoint</Application>
  <PresentationFormat>On-screen Show (16:9)</PresentationFormat>
  <Paragraphs>5843</Paragraphs>
  <Slides>80</Slides>
  <Notes>8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0</vt:i4>
      </vt:variant>
    </vt:vector>
  </HeadingPairs>
  <TitlesOfParts>
    <vt:vector size="90"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Aleaa SALAH</cp:lastModifiedBy>
  <cp:revision>41</cp:revision>
  <dcterms:created xsi:type="dcterms:W3CDTF">2024-07-05T07:54:38Z</dcterms:created>
  <dcterms:modified xsi:type="dcterms:W3CDTF">2025-09-25T10:0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